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2"/>
  </p:notesMasterIdLst>
  <p:sldIdLst>
    <p:sldId id="257" r:id="rId5"/>
    <p:sldId id="296" r:id="rId6"/>
    <p:sldId id="306" r:id="rId7"/>
    <p:sldId id="298" r:id="rId8"/>
    <p:sldId id="330" r:id="rId9"/>
    <p:sldId id="331" r:id="rId10"/>
    <p:sldId id="359" r:id="rId11"/>
    <p:sldId id="339" r:id="rId12"/>
    <p:sldId id="337" r:id="rId13"/>
    <p:sldId id="371" r:id="rId14"/>
    <p:sldId id="3350" r:id="rId15"/>
    <p:sldId id="369" r:id="rId16"/>
    <p:sldId id="370" r:id="rId17"/>
    <p:sldId id="368" r:id="rId18"/>
    <p:sldId id="3351" r:id="rId19"/>
    <p:sldId id="258" r:id="rId20"/>
    <p:sldId id="259" r:id="rId21"/>
    <p:sldId id="260" r:id="rId22"/>
    <p:sldId id="261" r:id="rId23"/>
    <p:sldId id="262" r:id="rId24"/>
    <p:sldId id="263" r:id="rId25"/>
    <p:sldId id="264" r:id="rId26"/>
    <p:sldId id="265" r:id="rId27"/>
    <p:sldId id="266" r:id="rId28"/>
    <p:sldId id="267" r:id="rId29"/>
    <p:sldId id="268" r:id="rId30"/>
    <p:sldId id="309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79"/>
    <a:srgbClr val="108DB3"/>
    <a:srgbClr val="2F5597"/>
    <a:srgbClr val="203864"/>
    <a:srgbClr val="0B6583"/>
    <a:srgbClr val="164E73"/>
    <a:srgbClr val="AEA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41" autoAdjust="0"/>
  </p:normalViewPr>
  <p:slideViewPr>
    <p:cSldViewPr snapToGrid="0" showGuides="1">
      <p:cViewPr varScale="1">
        <p:scale>
          <a:sx n="110" d="100"/>
          <a:sy n="110" d="100"/>
        </p:scale>
        <p:origin x="86" y="2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FC272F-B5A9-4A89-ADED-9759A68EA63F}" type="datetimeFigureOut">
              <a:rPr lang="en-US" smtClean="0"/>
              <a:t>9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337C24-F9B6-4B21-A83A-B3135EA15E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687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C976DD-4133-4961-A7C6-B2CA211F818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9652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ebf9d85b1b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ebf9d85b1b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gebf9d85b1b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6" name="Google Shape;76;gebf9d85b1b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ebf9d85b1b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Google Shape;82;gebf9d85b1b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f058c5e739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" name="Google Shape;89;gf058c5e739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gebf9d85b1b_0_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" name="Google Shape;98;gebf9d85b1b_0_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f058c5e739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f058c5e739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gebf9d85b1b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" name="Google Shape;114;gebf9d85b1b_0_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f058c5e739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" name="Google Shape;121;gf058c5e739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ebf9d85b1b_0_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Google Shape;130;gebf9d85b1b_0_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gf058c5e739_0_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7" name="Google Shape;137;gf058c5e739_0_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Shows flexibility of the portfolio and eco system developmen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22D23F-A27A-4CC4-B657-CA8BFCF22D2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5458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 defTabSz="914206">
              <a:buFontTx/>
              <a:buNone/>
            </a:pPr>
            <a:endParaRPr lang="en-US" b="1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7F9A98-30A6-402D-8584-563C356853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042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337C24-F9B6-4B21-A83A-B3135EA15EF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898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ld be last slide hinting at the roadmap without committing to 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337C24-F9B6-4B21-A83A-B3135EA15EF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143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uld be last slide hinting at the roadmap without committing to 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337C24-F9B6-4B21-A83A-B3135EA15EF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25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555BAB-0C96-4FC0-94F5-CE3C999051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148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ebf9d85b1b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ebf9d85b1b_0_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ebf9d85b1b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ebf9d85b1b_0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utdoor&#10;&#10;Description automatically generated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6F0D67A6-4011-4B3A-BF07-E86EDB8576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260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lus Photo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384CB4-380D-4E9C-BD98-CF580DF5ADE5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DE39881-5411-498F-9007-6A2FCD584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292" y="1650378"/>
            <a:ext cx="3902928" cy="1550022"/>
          </a:xfrm>
        </p:spPr>
        <p:txBody>
          <a:bodyPr lIns="0" tIns="0" bIns="0" anchor="t"/>
          <a:lstStyle>
            <a:lvl1pPr algn="l">
              <a:defRPr sz="27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F9FDE4-2B09-4922-9DD7-B3068BED8A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0292" y="3429000"/>
            <a:ext cx="3902928" cy="2989861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DEB351D6-4AAD-4965-AF82-9B03D60320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49335" y="1097278"/>
            <a:ext cx="7742663" cy="5247765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816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5FF22-BC9C-45FE-B78F-962CC7E7A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92A3C-5B62-4F90-8720-1CA81E51DF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9141" y="1460810"/>
            <a:ext cx="5640659" cy="4716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8EFBE0-BC7A-4109-AC3E-E6C94CE016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438" y="1460810"/>
            <a:ext cx="5640659" cy="47161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45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5FF22-BC9C-45FE-B78F-962CC7E7A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392A3C-5B62-4F90-8720-1CA81E51DF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9141" y="1962615"/>
            <a:ext cx="5640659" cy="42143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8EFBE0-BC7A-4109-AC3E-E6C94CE016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438" y="1962615"/>
            <a:ext cx="5640659" cy="42143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787137-843E-48F7-B69A-E2A589DD49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9413" y="1315844"/>
            <a:ext cx="5640387" cy="524223"/>
          </a:xfrm>
        </p:spPr>
        <p:txBody>
          <a:bodyPr/>
          <a:lstStyle>
            <a:lvl1pPr marL="0" indent="0">
              <a:buNone/>
              <a:defRPr sz="2400">
                <a:solidFill>
                  <a:srgbClr val="20386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1508D61-FACF-4C03-938E-F6F58AA6F9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5706" y="1315844"/>
            <a:ext cx="5640387" cy="524223"/>
          </a:xfrm>
        </p:spPr>
        <p:txBody>
          <a:bodyPr/>
          <a:lstStyle>
            <a:lvl1pPr marL="0" indent="0">
              <a:buNone/>
              <a:defRPr sz="2400">
                <a:solidFill>
                  <a:srgbClr val="20386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5846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384CB4-380D-4E9C-BD98-CF580DF5ADE5}"/>
              </a:ext>
            </a:extLst>
          </p:cNvPr>
          <p:cNvSpPr/>
          <p:nvPr userDrawn="1"/>
        </p:nvSpPr>
        <p:spPr>
          <a:xfrm>
            <a:off x="0" y="1"/>
            <a:ext cx="6255834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83000">
                <a:srgbClr val="0B658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F88214-4741-4C9C-A8D9-7526ECD36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386" y="1195391"/>
            <a:ext cx="5586760" cy="1826590"/>
          </a:xfrm>
        </p:spPr>
        <p:txBody>
          <a:bodyPr lIns="0" tIns="0" bIns="0" anchor="b"/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A59C9-EBA2-4E48-926D-E83EFCAFA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386" y="3958683"/>
            <a:ext cx="5586760" cy="1081668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369DD0E8-279D-4AE6-8B6D-90FF0F066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8885" y="5241605"/>
            <a:ext cx="2798064" cy="421005"/>
          </a:xfrm>
          <a:prstGeom prst="rect">
            <a:avLst/>
          </a:prstGeom>
        </p:spPr>
      </p:pic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091D4086-07FC-40D2-B97E-5D52A0D21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55834" y="0"/>
            <a:ext cx="5936166" cy="685799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49810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384CB4-380D-4E9C-BD98-CF580DF5ADE5}"/>
              </a:ext>
            </a:extLst>
          </p:cNvPr>
          <p:cNvSpPr/>
          <p:nvPr userDrawn="1"/>
        </p:nvSpPr>
        <p:spPr>
          <a:xfrm>
            <a:off x="-1" y="1"/>
            <a:ext cx="557561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83000">
                <a:srgbClr val="0B6583"/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F88214-4741-4C9C-A8D9-7526ECD36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225" y="1195391"/>
            <a:ext cx="5040352" cy="1826590"/>
          </a:xfrm>
        </p:spPr>
        <p:txBody>
          <a:bodyPr lIns="0" tIns="0" bIns="0" anchor="b"/>
          <a:lstStyle>
            <a:lvl1pPr algn="ctr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A59C9-EBA2-4E48-926D-E83EFCAFA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0224" y="3958683"/>
            <a:ext cx="5040352" cy="1081668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091D4086-07FC-40D2-B97E-5D52A0D21E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65541" y="0"/>
            <a:ext cx="6326459" cy="685799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A4B3B149-4B51-4FE6-8286-1E6FBD9054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599" y="5237780"/>
            <a:ext cx="2778633" cy="42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0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384CB4-380D-4E9C-BD98-CF580DF5ADE5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8C04C707-1065-42E1-A32F-2DF107504B79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516566" y="1096963"/>
            <a:ext cx="9144000" cy="5128980"/>
          </a:xfr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C5ECCA-5C96-4045-9DF6-4AEB91B6C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73105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lus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6384CB4-380D-4E9C-BD98-CF580DF5ADE5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id="{8C04C707-1065-42E1-A32F-2DF107504B79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4449337" y="1650378"/>
            <a:ext cx="7352371" cy="4125954"/>
          </a:xfr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DE39881-5411-498F-9007-6A2FCD584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292" y="1650378"/>
            <a:ext cx="3902928" cy="1550022"/>
          </a:xfrm>
        </p:spPr>
        <p:txBody>
          <a:bodyPr lIns="0" tIns="0" bIns="0" anchor="t"/>
          <a:lstStyle>
            <a:lvl1pPr algn="l">
              <a:defRPr sz="27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F9FDE4-2B09-4922-9DD7-B3068BED8A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0292" y="3429000"/>
            <a:ext cx="3902928" cy="2989861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6273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reensho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7728EE-96BF-4C50-AB5C-19FCCC31F64C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pic>
        <p:nvPicPr>
          <p:cNvPr id="6" name="Picture 5" descr="A screen shot of an open computer sitting on top of a desk&#10;&#10;Description automatically generated">
            <a:extLst>
              <a:ext uri="{FF2B5EF4-FFF2-40B4-BE49-F238E27FC236}">
                <a16:creationId xmlns:a16="http://schemas.microsoft.com/office/drawing/2014/main" id="{C4889A97-44A9-45F3-B801-4CC111B83B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589" y="1084364"/>
            <a:ext cx="8886825" cy="529590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7037AD-5F5D-4F2A-B1E2-295D677884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21000" y="1438275"/>
            <a:ext cx="6200775" cy="3602038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0C9C4D-8D63-42DB-BE0E-E5BC94B80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382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reensho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7728EE-96BF-4C50-AB5C-19FCCC31F64C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7037AD-5F5D-4F2A-B1E2-295D677884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9141" y="1097279"/>
            <a:ext cx="11435977" cy="5760720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3CA03ED-17B7-4967-AECD-AFB5D7276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545444" cy="10972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1850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reensh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7728EE-96BF-4C50-AB5C-19FCCC31F64C}"/>
              </a:ext>
            </a:extLst>
          </p:cNvPr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7037AD-5F5D-4F2A-B1E2-295D677884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2955" y="1097279"/>
            <a:ext cx="9148762" cy="5128664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42E3CA-769E-4668-AAFF-A9E103EE3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545444" cy="10972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466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51887BB9-453A-4215-ADB1-B86CBBD3A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101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28F4B-1160-4776-8FB5-46AD9E8FF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66880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37BBF2A-9904-4542-BD91-404EBAACEB49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rgbClr val="AEAAAA"/>
                </a:solidFill>
              </a:rPr>
              <a:pPr algn="r"/>
              <a:t>‹#›</a:t>
            </a:fld>
            <a:endParaRPr lang="en-US" sz="900" dirty="0">
              <a:solidFill>
                <a:srgbClr val="AEAAAA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B99CF1-2D65-4EC2-8015-610FBD49ED8D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AEAAAA"/>
                </a:solidFill>
              </a:rPr>
              <a:t>©2020 Cambium Networks, Ltd</a:t>
            </a:r>
          </a:p>
        </p:txBody>
      </p:sp>
    </p:spTree>
    <p:extLst>
      <p:ext uri="{BB962C8B-B14F-4D97-AF65-F5344CB8AC3E}">
        <p14:creationId xmlns:p14="http://schemas.microsoft.com/office/powerpoint/2010/main" val="34383520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utdoor&#10;&#10;Description automatically generated">
            <a:extLst>
              <a:ext uri="{FF2B5EF4-FFF2-40B4-BE49-F238E27FC236}">
                <a16:creationId xmlns:a16="http://schemas.microsoft.com/office/drawing/2014/main" id="{999492DE-D0E9-4E04-972E-D880762705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97728EE-96BF-4C50-AB5C-19FCCC31F64C}"/>
              </a:ext>
            </a:extLst>
          </p:cNvPr>
          <p:cNvSpPr/>
          <p:nvPr userDrawn="1"/>
        </p:nvSpPr>
        <p:spPr>
          <a:xfrm>
            <a:off x="0" y="4304371"/>
            <a:ext cx="6110868" cy="2553629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933" y="1825908"/>
            <a:ext cx="8229600" cy="12382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4E47CF-9730-4DC5-BFF3-9047A6663FD6}"/>
              </a:ext>
            </a:extLst>
          </p:cNvPr>
          <p:cNvCxnSpPr/>
          <p:nvPr userDrawn="1"/>
        </p:nvCxnSpPr>
        <p:spPr>
          <a:xfrm flipH="1">
            <a:off x="367990" y="5374888"/>
            <a:ext cx="5341434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B2D80A3-FA25-47BC-A81D-FD78DA0697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365774"/>
            <a:ext cx="5794872" cy="947712"/>
          </a:xfrm>
        </p:spPr>
        <p:txBody>
          <a:bodyPr lIns="365760" anchor="ctr"/>
          <a:lstStyle>
            <a:lvl1pPr>
              <a:defRPr sz="27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0D8E41-1F87-4FC3-BAFC-7AF6C6F3F6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645614"/>
            <a:ext cx="5794872" cy="1078966"/>
          </a:xfrm>
        </p:spPr>
        <p:txBody>
          <a:bodyPr lIns="365760" anchor="t"/>
          <a:lstStyle>
            <a:lvl1pPr>
              <a:spcBef>
                <a:spcPts val="0"/>
              </a:spcBef>
              <a:spcAft>
                <a:spcPts val="300"/>
              </a:spcAft>
              <a:defRPr sz="21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477510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utdoor&#10;&#10;Description automatically generated">
            <a:extLst>
              <a:ext uri="{FF2B5EF4-FFF2-40B4-BE49-F238E27FC236}">
                <a16:creationId xmlns:a16="http://schemas.microsoft.com/office/drawing/2014/main" id="{999492DE-D0E9-4E04-972E-D880762705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97728EE-96BF-4C50-AB5C-19FCCC31F64C}"/>
              </a:ext>
            </a:extLst>
          </p:cNvPr>
          <p:cNvSpPr/>
          <p:nvPr userDrawn="1"/>
        </p:nvSpPr>
        <p:spPr>
          <a:xfrm>
            <a:off x="0" y="5363737"/>
            <a:ext cx="12192000" cy="1494263"/>
          </a:xfrm>
          <a:prstGeom prst="rect">
            <a:avLst/>
          </a:prstGeom>
          <a:gradFill>
            <a:gsLst>
              <a:gs pos="0">
                <a:srgbClr val="203864"/>
              </a:gs>
              <a:gs pos="50000">
                <a:srgbClr val="2F5597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50BE43E4-A319-46DA-B09C-46D686CAA4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933" y="2205047"/>
            <a:ext cx="8229600" cy="12382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6F9FA5F-6B30-448F-804E-27539606100E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F7CB90-A50B-4E4A-B707-D9B80B5DBCB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©2020 Cambium Networks, Lt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39F4238-2AA5-47DD-AB5F-656EBA9355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645614"/>
            <a:ext cx="5794872" cy="1078966"/>
          </a:xfrm>
        </p:spPr>
        <p:txBody>
          <a:bodyPr lIns="365760" anchor="t"/>
          <a:lstStyle>
            <a:lvl1pPr>
              <a:spcBef>
                <a:spcPts val="0"/>
              </a:spcBef>
              <a:spcAft>
                <a:spcPts val="300"/>
              </a:spcAft>
              <a:defRPr sz="21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4ED1DD5-119B-42EE-BC3A-A786F1E25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545444" cy="10972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6189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ADBFBEC4-A5E9-46A3-814E-847F4F4BE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6714"/>
            <a:ext cx="11430000" cy="731520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4292902-5333-4C36-9CF9-41A8AA321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1" y="1314451"/>
            <a:ext cx="10969943" cy="481171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 sz="2000"/>
            </a:lvl2pPr>
            <a:lvl3pPr>
              <a:spcBef>
                <a:spcPts val="600"/>
              </a:spcBef>
              <a:defRPr sz="1800"/>
            </a:lvl3pPr>
            <a:lvl4pPr>
              <a:spcBef>
                <a:spcPts val="600"/>
              </a:spcBef>
              <a:defRPr sz="1800"/>
            </a:lvl4pPr>
            <a:lvl5pPr>
              <a:spcBef>
                <a:spcPts val="600"/>
              </a:spcBef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pyright 2019 Cambium Networks, Inc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120FE1-A2D0-4CC7-A5D8-693BBC68F3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38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19200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981200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219200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981200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2017 Cambium Networks, Ltd. All Rights Reserved.  Confidential Restricted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ED5164-A1E6-4084-B524-A73C11AAB6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1003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045AB3-FBAC-B643-885C-062889D468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122AA4-72FF-6346-A4A2-CBF2767320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C79E319-5378-DD42-B403-088027203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446" y="-1"/>
            <a:ext cx="8660624" cy="7882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550DE1-07CF-40BA-9860-F55F6B5D95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58FCEC-A0A9-4957-BB2B-2164B9A4BE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EA990F-33C4-4B07-83C7-DB2ACE1F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IUM NETWORKS CONFIDENTIAL RESTRICTED</a:t>
            </a:r>
          </a:p>
        </p:txBody>
      </p:sp>
    </p:spTree>
    <p:extLst>
      <p:ext uri="{BB962C8B-B14F-4D97-AF65-F5344CB8AC3E}">
        <p14:creationId xmlns:p14="http://schemas.microsoft.com/office/powerpoint/2010/main" val="29568050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20992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6C36C1AD-642B-40AA-B71C-F9D7B58687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991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3FF9FB43-A7F5-4B6A-8372-A51A501569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0748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33AF5C63-9CDD-4338-AFD1-98D03AC779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915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85C67AB-4930-421F-A429-3C9BE2A1A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AC7F3-619F-4492-A6FE-ABA10C307804}"/>
              </a:ext>
            </a:extLst>
          </p:cNvPr>
          <p:cNvSpPr/>
          <p:nvPr userDrawn="1"/>
        </p:nvSpPr>
        <p:spPr>
          <a:xfrm>
            <a:off x="0" y="5140712"/>
            <a:ext cx="6095999" cy="1059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A469A0-92B1-4DE6-A3D9-D16394B078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9872" y="4906535"/>
            <a:ext cx="4895386" cy="825189"/>
          </a:xfrm>
        </p:spPr>
        <p:txBody>
          <a:bodyPr lIns="0" tIns="0" bIns="0" anchor="b"/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3D11E4-9A2A-4B08-BE51-F23E6847E5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69873" y="5746788"/>
            <a:ext cx="4895386" cy="625474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DF9B17B5-6243-4A9C-87AA-A01B275DA8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7" y="5367169"/>
            <a:ext cx="4080296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31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407C2-5D3E-485D-BB16-468C8F7F0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8DBBC2-3377-40BE-93D8-7447999D0F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835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407C2-5D3E-485D-BB16-468C8F7F0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8DBBC2-3377-40BE-93D8-7447999D0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141" y="1505415"/>
            <a:ext cx="5716859" cy="46715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F6E2104-55D2-4323-AAB6-22DD9A8412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1590" y="1416167"/>
            <a:ext cx="5880410" cy="492887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35385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4407C2-5D3E-485D-BB16-468C8F7F0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8DBBC2-3377-40BE-93D8-7447999D0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1589" y="1505415"/>
            <a:ext cx="5716859" cy="46715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F6E2104-55D2-4323-AAB6-22DD9A8412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16167"/>
            <a:ext cx="5880410" cy="4928878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38894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F759920-552C-4240-8640-D845E0028066}"/>
              </a:ext>
            </a:extLst>
          </p:cNvPr>
          <p:cNvSpPr/>
          <p:nvPr userDrawn="1"/>
        </p:nvSpPr>
        <p:spPr>
          <a:xfrm>
            <a:off x="-1" y="0"/>
            <a:ext cx="12191999" cy="1097280"/>
          </a:xfrm>
          <a:prstGeom prst="rect">
            <a:avLst/>
          </a:prstGeom>
          <a:gradFill>
            <a:gsLst>
              <a:gs pos="0">
                <a:srgbClr val="203864"/>
              </a:gs>
              <a:gs pos="100000">
                <a:srgbClr val="108DB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264138-9C79-4257-BA27-D3DACCB67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545444" cy="1097279"/>
          </a:xfrm>
          <a:prstGeom prst="rect">
            <a:avLst/>
          </a:prstGeom>
        </p:spPr>
        <p:txBody>
          <a:bodyPr vert="horz" lIns="36576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16ADCB-6D9E-4FC6-A5DD-FA6645D090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9141" y="1505415"/>
            <a:ext cx="11543368" cy="46715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B895F160-EE5C-4D5B-8C6C-389276909090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19" y="365099"/>
            <a:ext cx="2057400" cy="3095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C9AFF4-413E-40CC-985E-CBB9106D18A1}"/>
              </a:ext>
            </a:extLst>
          </p:cNvPr>
          <p:cNvSpPr txBox="1"/>
          <p:nvPr userDrawn="1"/>
        </p:nvSpPr>
        <p:spPr>
          <a:xfrm>
            <a:off x="11496906" y="6427978"/>
            <a:ext cx="4256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960AB1-B549-4142-98B9-4D1A814A6C70}" type="slidenum">
              <a:rPr lang="en-US" sz="900" smtClean="0">
                <a:solidFill>
                  <a:srgbClr val="AEAAAA"/>
                </a:solidFill>
              </a:rPr>
              <a:pPr algn="r"/>
              <a:t>‹#›</a:t>
            </a:fld>
            <a:endParaRPr lang="en-US" sz="900" dirty="0">
              <a:solidFill>
                <a:srgbClr val="AEAAAA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004178-828C-4D8B-A9F4-EE6240D18B14}"/>
              </a:ext>
            </a:extLst>
          </p:cNvPr>
          <p:cNvSpPr txBox="1"/>
          <p:nvPr userDrawn="1"/>
        </p:nvSpPr>
        <p:spPr>
          <a:xfrm>
            <a:off x="9479682" y="6418861"/>
            <a:ext cx="20406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AEAAAA"/>
                </a:solidFill>
              </a:rPr>
              <a:t>©2020 Cambium Networks, Ltd</a:t>
            </a:r>
          </a:p>
        </p:txBody>
      </p:sp>
    </p:spTree>
    <p:extLst>
      <p:ext uri="{BB962C8B-B14F-4D97-AF65-F5344CB8AC3E}">
        <p14:creationId xmlns:p14="http://schemas.microsoft.com/office/powerpoint/2010/main" val="353383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50" r:id="rId7"/>
    <p:sldLayoutId id="2147483661" r:id="rId8"/>
    <p:sldLayoutId id="2147483662" r:id="rId9"/>
    <p:sldLayoutId id="2147483670" r:id="rId10"/>
    <p:sldLayoutId id="2147483652" r:id="rId11"/>
    <p:sldLayoutId id="2147483664" r:id="rId12"/>
    <p:sldLayoutId id="2147483663" r:id="rId13"/>
    <p:sldLayoutId id="2147483651" r:id="rId14"/>
    <p:sldLayoutId id="2147483665" r:id="rId15"/>
    <p:sldLayoutId id="2147483669" r:id="rId16"/>
    <p:sldLayoutId id="2147483666" r:id="rId17"/>
    <p:sldLayoutId id="2147483667" r:id="rId18"/>
    <p:sldLayoutId id="2147483668" r:id="rId19"/>
    <p:sldLayoutId id="2147483654" r:id="rId20"/>
    <p:sldLayoutId id="2147483655" r:id="rId21"/>
    <p:sldLayoutId id="2147483671" r:id="rId22"/>
    <p:sldLayoutId id="2147483672" r:id="rId23"/>
    <p:sldLayoutId id="2147483676" r:id="rId24"/>
    <p:sldLayoutId id="2147483677" r:id="rId25"/>
    <p:sldLayoutId id="2147483678" r:id="rId26"/>
    <p:sldLayoutId id="2147483679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1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01638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76263" indent="-174625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33463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5" Type="http://schemas.openxmlformats.org/officeDocument/2006/relationships/image" Target="../media/image4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jpeg"/><Relationship Id="rId11" Type="http://schemas.openxmlformats.org/officeDocument/2006/relationships/image" Target="../media/image16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9.jp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3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FF3F6-B0E0-4549-9176-29EB530D08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98763" y="4906535"/>
            <a:ext cx="5366495" cy="825189"/>
          </a:xfrm>
        </p:spPr>
        <p:txBody>
          <a:bodyPr/>
          <a:lstStyle/>
          <a:p>
            <a:r>
              <a:rPr lang="en-US" dirty="0"/>
              <a:t>ePMP 6GHz/5GHz AX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17C8D4-4710-463E-B879-424CB5B056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98763" y="5731724"/>
            <a:ext cx="4895386" cy="625474"/>
          </a:xfrm>
        </p:spPr>
        <p:txBody>
          <a:bodyPr/>
          <a:lstStyle/>
          <a:p>
            <a:r>
              <a:rPr lang="it-IT" dirty="0"/>
              <a:t>September 28th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50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/>
        </p:nvSpPr>
        <p:spPr>
          <a:xfrm>
            <a:off x="1528172" y="1159852"/>
            <a:ext cx="8387513" cy="4249057"/>
          </a:xfrm>
          <a:custGeom>
            <a:avLst/>
            <a:gdLst>
              <a:gd name="connsiteX0" fmla="*/ 0 w 8387513"/>
              <a:gd name="connsiteY0" fmla="*/ 4249057 h 4249057"/>
              <a:gd name="connsiteX1" fmla="*/ 8353586 w 8387513"/>
              <a:gd name="connsiteY1" fmla="*/ 173003 h 4249057"/>
              <a:gd name="connsiteX2" fmla="*/ 2960176 w 8387513"/>
              <a:gd name="connsiteY2" fmla="*/ 761939 h 4249057"/>
              <a:gd name="connsiteX3" fmla="*/ 3254644 w 8387513"/>
              <a:gd name="connsiteY3" fmla="*/ 831681 h 4249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87513" h="4249057">
                <a:moveTo>
                  <a:pt x="0" y="4249057"/>
                </a:moveTo>
                <a:cubicBezTo>
                  <a:pt x="3930111" y="2501623"/>
                  <a:pt x="7860223" y="754189"/>
                  <a:pt x="8353586" y="173003"/>
                </a:cubicBezTo>
                <a:cubicBezTo>
                  <a:pt x="8846949" y="-408183"/>
                  <a:pt x="3810000" y="652159"/>
                  <a:pt x="2960176" y="761939"/>
                </a:cubicBezTo>
                <a:cubicBezTo>
                  <a:pt x="2110352" y="871719"/>
                  <a:pt x="2682498" y="851700"/>
                  <a:pt x="3254644" y="831681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84" y="9945"/>
            <a:ext cx="9545444" cy="1097279"/>
          </a:xfrm>
        </p:spPr>
        <p:txBody>
          <a:bodyPr/>
          <a:lstStyle/>
          <a:p>
            <a:r>
              <a:rPr lang="en-US" dirty="0"/>
              <a:t>6GHz Ban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110AB3-23D7-4A74-89E3-51176A145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8273" y="1107224"/>
            <a:ext cx="10585269" cy="573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123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09D2F-1A9A-406A-95EB-DABF833B3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ossible timeli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849659-EA93-4DBA-A981-79C72FD110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BA283E-C477-4935-8978-92EF29B94916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C54166-7CF0-4BA1-AAF9-96792F613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077" y="829745"/>
            <a:ext cx="10855036" cy="5891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8998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PMP</a:t>
            </a:r>
            <a:r>
              <a:rPr lang="en-US" dirty="0"/>
              <a:t> </a:t>
            </a:r>
            <a:r>
              <a:rPr lang="en-US" dirty="0" err="1"/>
              <a:t>WiFi</a:t>
            </a:r>
            <a:r>
              <a:rPr lang="en-US" dirty="0"/>
              <a:t> 6 Access points - </a:t>
            </a:r>
            <a:r>
              <a:rPr lang="en-US" dirty="0" err="1"/>
              <a:t>ePMP</a:t>
            </a:r>
            <a:r>
              <a:rPr lang="en-US" dirty="0"/>
              <a:t> 400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106172-8EE0-4D56-AF63-300F7FDA92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2661" y="1566443"/>
            <a:ext cx="1072207" cy="161085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164C846-5E61-4EE7-88D1-1EA7314B5B7A}"/>
              </a:ext>
            </a:extLst>
          </p:cNvPr>
          <p:cNvSpPr txBox="1"/>
          <p:nvPr/>
        </p:nvSpPr>
        <p:spPr>
          <a:xfrm>
            <a:off x="721083" y="1154358"/>
            <a:ext cx="267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8x8 5GHz A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329DD-C9FD-42A2-B066-297E898FB4E1}"/>
              </a:ext>
            </a:extLst>
          </p:cNvPr>
          <p:cNvSpPr txBox="1"/>
          <p:nvPr/>
        </p:nvSpPr>
        <p:spPr>
          <a:xfrm>
            <a:off x="551229" y="3636085"/>
            <a:ext cx="358950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grated 8x8 Sector Ant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eq Support </a:t>
            </a:r>
            <a:r>
              <a:rPr lang="en-US" b="1" dirty="0"/>
              <a:t>4.9 - 6.135</a:t>
            </a:r>
            <a:r>
              <a:rPr lang="en-US" dirty="0"/>
              <a:t>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8V PoE/ and </a:t>
            </a:r>
            <a:r>
              <a:rPr lang="en-US" b="1" dirty="0"/>
              <a:t>4 wire DC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FP+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P6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636 mm x 485 m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0 MHz Ch, 1024 Q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X Power 25 dBm/Chai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EE77DF-F92E-4CD7-8352-3110E3E8DFDB}"/>
              </a:ext>
            </a:extLst>
          </p:cNvPr>
          <p:cNvSpPr txBox="1"/>
          <p:nvPr/>
        </p:nvSpPr>
        <p:spPr>
          <a:xfrm>
            <a:off x="5955214" y="1099588"/>
            <a:ext cx="2301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4x4 6 GHz A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C2C363-02D7-4382-8333-89051263B65A}"/>
              </a:ext>
            </a:extLst>
          </p:cNvPr>
          <p:cNvSpPr txBox="1"/>
          <p:nvPr/>
        </p:nvSpPr>
        <p:spPr>
          <a:xfrm>
            <a:off x="5659510" y="3552446"/>
            <a:ext cx="6192786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x4 6 GHz sector ant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eq Support </a:t>
            </a:r>
            <a:r>
              <a:rPr lang="en-US" b="1" dirty="0"/>
              <a:t>5.9 - 7.250</a:t>
            </a:r>
            <a:r>
              <a:rPr lang="en-US" dirty="0"/>
              <a:t>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8V PoE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FP+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P6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adio – 235 mm x 125 mm, Antenna 594 mm x 157 m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60 MHz Ch, 4096QAM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X Power 24 </a:t>
            </a:r>
            <a:r>
              <a:rPr lang="en-US" dirty="0" err="1"/>
              <a:t>dBm</a:t>
            </a:r>
            <a:r>
              <a:rPr lang="en-US" dirty="0"/>
              <a:t>/cha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D5C297-29EA-49AC-8DE9-4D247C332E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7748503" y="1468920"/>
            <a:ext cx="715859" cy="20835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FFB3020-BB2D-4DE8-8BA9-C2158FFD14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6433248" y="1468920"/>
            <a:ext cx="636894" cy="208352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FC6F70-2AE3-42EF-8081-672599E52D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1698" y="1664084"/>
            <a:ext cx="1011362" cy="1545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4414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PMP</a:t>
            </a:r>
            <a:r>
              <a:rPr lang="en-US" dirty="0"/>
              <a:t> Force 400 Subscriber Modu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ED5164-A1E6-4084-B524-A73C11AAB69D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F64BE5-601E-4E08-BBB6-89C7360E1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8429" y="1736334"/>
            <a:ext cx="1662888" cy="199766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8C03983-EAD2-4CA0-AB70-257659820C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094" y="1681505"/>
            <a:ext cx="1662888" cy="199766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9460690-6BF2-456C-8CB7-B18B6EA10168}"/>
              </a:ext>
            </a:extLst>
          </p:cNvPr>
          <p:cNvSpPr txBox="1"/>
          <p:nvPr/>
        </p:nvSpPr>
        <p:spPr>
          <a:xfrm>
            <a:off x="6446584" y="1312173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 GHz S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7BA69B-96FA-4502-9AE2-C03EF1815E8D}"/>
              </a:ext>
            </a:extLst>
          </p:cNvPr>
          <p:cNvSpPr txBox="1"/>
          <p:nvPr/>
        </p:nvSpPr>
        <p:spPr>
          <a:xfrm>
            <a:off x="3484188" y="1324592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 GHz S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341F8A-6C92-422B-9F16-2D7E62E366D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2280" y="1736334"/>
            <a:ext cx="813100" cy="16331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1B0A6C8-CD52-41BC-BB33-F58D7D940050}"/>
              </a:ext>
            </a:extLst>
          </p:cNvPr>
          <p:cNvSpPr txBox="1"/>
          <p:nvPr/>
        </p:nvSpPr>
        <p:spPr>
          <a:xfrm>
            <a:off x="800085" y="1314094"/>
            <a:ext cx="1762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 GHz PTP/S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74F145-67D5-4230-B983-634770DFDBB6}"/>
              </a:ext>
            </a:extLst>
          </p:cNvPr>
          <p:cNvSpPr txBox="1"/>
          <p:nvPr/>
        </p:nvSpPr>
        <p:spPr>
          <a:xfrm>
            <a:off x="114109" y="3422363"/>
            <a:ext cx="2730235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upports RFE </a:t>
            </a:r>
            <a:r>
              <a:rPr lang="en-US" sz="1400" dirty="0" err="1"/>
              <a:t>Twistport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req Support </a:t>
            </a:r>
            <a:r>
              <a:rPr lang="en-US" sz="1400" b="1" dirty="0"/>
              <a:t>5.9-7.250</a:t>
            </a:r>
            <a:r>
              <a:rPr lang="en-US" sz="1400" dirty="0"/>
              <a:t>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8V Active PoE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FP+ interf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P6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56 mm x 125 m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160 MHz Ch, 4096 Q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X Power 24 dBm/Ch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ternal GP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2AF1BD-84B4-41C5-AB9B-1FDA6B07298E}"/>
              </a:ext>
            </a:extLst>
          </p:cNvPr>
          <p:cNvSpPr txBox="1"/>
          <p:nvPr/>
        </p:nvSpPr>
        <p:spPr>
          <a:xfrm>
            <a:off x="3143338" y="3640622"/>
            <a:ext cx="2730235" cy="209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5 </a:t>
            </a:r>
            <a:r>
              <a:rPr lang="en-US" sz="1400" dirty="0" err="1"/>
              <a:t>dBi</a:t>
            </a:r>
            <a:r>
              <a:rPr lang="en-US" sz="1400" dirty="0"/>
              <a:t> Ant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req Support 5.9-7.250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8V Passive PoE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P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50 mm Diam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60 MHz Ch, 1024 Q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X Power 24 dBm/Ch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SB GPS Accesso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04536D-DED5-423F-8419-8598FC1D369A}"/>
              </a:ext>
            </a:extLst>
          </p:cNvPr>
          <p:cNvSpPr txBox="1"/>
          <p:nvPr/>
        </p:nvSpPr>
        <p:spPr>
          <a:xfrm>
            <a:off x="6405066" y="3748343"/>
            <a:ext cx="2581156" cy="18774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5 </a:t>
            </a:r>
            <a:r>
              <a:rPr lang="en-US" sz="1400" dirty="0" err="1"/>
              <a:t>dBi</a:t>
            </a:r>
            <a:r>
              <a:rPr lang="en-US" sz="1400" dirty="0"/>
              <a:t> Ant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req Support 4.9 -5.9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8V Passive PoE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P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50 mm Diam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80 MHz Ch, 1024 Q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X Power 25 dBm/Chai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65D3FA-AA7E-427F-A9D5-BE65F786C8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8201" y="1801729"/>
            <a:ext cx="1623729" cy="187743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43156E9-C36C-497C-A82E-475F122BDAE9}"/>
              </a:ext>
            </a:extLst>
          </p:cNvPr>
          <p:cNvSpPr txBox="1"/>
          <p:nvPr/>
        </p:nvSpPr>
        <p:spPr>
          <a:xfrm>
            <a:off x="9895535" y="1324592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 GHz SM (ROW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C5BFB4-E1DB-433A-9784-8BC8EA0300C5}"/>
              </a:ext>
            </a:extLst>
          </p:cNvPr>
          <p:cNvSpPr txBox="1"/>
          <p:nvPr/>
        </p:nvSpPr>
        <p:spPr>
          <a:xfrm>
            <a:off x="9496735" y="3733995"/>
            <a:ext cx="2581156" cy="209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5 </a:t>
            </a:r>
            <a:r>
              <a:rPr lang="en-US" sz="1400" dirty="0" err="1"/>
              <a:t>dBi</a:t>
            </a:r>
            <a:r>
              <a:rPr lang="en-US" sz="1400" dirty="0"/>
              <a:t> Ant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req Support 4.9 -5.9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30V Passive PoE 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P5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50 mm Diam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80 MHz Ch, 1024 Q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eak tput of 400Mb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X Power 25 dBm/Chain</a:t>
            </a:r>
          </a:p>
        </p:txBody>
      </p:sp>
    </p:spTree>
    <p:extLst>
      <p:ext uri="{BB962C8B-B14F-4D97-AF65-F5344CB8AC3E}">
        <p14:creationId xmlns:p14="http://schemas.microsoft.com/office/powerpoint/2010/main" val="37040185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7590A-F44F-4113-9721-5D79A7B05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 GHz ePMP 4000 Specific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63D573-A405-440D-9332-3581F010A082}"/>
              </a:ext>
            </a:extLst>
          </p:cNvPr>
          <p:cNvSpPr txBox="1"/>
          <p:nvPr/>
        </p:nvSpPr>
        <p:spPr>
          <a:xfrm>
            <a:off x="5715000" y="3429000"/>
            <a:ext cx="5850019" cy="313932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/>
              <a:t>Performance Spe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oncurrent 4x4 MU-MIMO &amp; DL/UL OFD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Double spectrum efficiency with MU-MIM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OFDMA efficiently uses bandwidth for short trans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gher efficiency of AX with less overhead (shorter guard interva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3 QoS Levels: VoIP, High &amp; 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iority-based air-fairness scheduling with starvation avoida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DD scheduling with GPS Syn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5 &amp; 2.5 </a:t>
            </a:r>
            <a:r>
              <a:rPr lang="en-US" sz="1400" dirty="0" err="1"/>
              <a:t>ms</a:t>
            </a:r>
            <a:r>
              <a:rPr lang="en-US" sz="1400" dirty="0"/>
              <a:t> frame dur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Flexible duty cycle (DL/UL) from 75/25 – 30/70 with 5% ste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DD Scheduling w/o GPS sync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Flexible frame du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FC support based on GPS/GNSS geoloc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CS (Automatic Channel Selection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EADD8D-4BFD-4E9E-A862-C0940247D278}"/>
              </a:ext>
            </a:extLst>
          </p:cNvPr>
          <p:cNvSpPr txBox="1"/>
          <p:nvPr/>
        </p:nvSpPr>
        <p:spPr>
          <a:xfrm>
            <a:off x="309790" y="3237815"/>
            <a:ext cx="4986622" cy="335476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2pPr marL="742950" lvl="1" indent="-285750">
              <a:buFont typeface="Arial" panose="020B0604020202020204" pitchFamily="34" charset="0"/>
              <a:buChar char="•"/>
            </a:lvl2pPr>
          </a:lstStyle>
          <a:p>
            <a:r>
              <a:rPr lang="en-US" sz="1600" b="1" dirty="0"/>
              <a:t>Hardware Spe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ven </a:t>
            </a:r>
            <a:r>
              <a:rPr lang="en-US" sz="1400" dirty="0" err="1"/>
              <a:t>ePMP</a:t>
            </a:r>
            <a:r>
              <a:rPr lang="en-US" sz="1400" dirty="0"/>
              <a:t> Air Interfa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Qualcomm 802.11ax family of chip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4x4 MU-MIMO AP w/ 90 degree beamforming s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6 GHz band: 5.925 – 7.125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0 / 40 / 80 / 160 MHz channel bandwid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024QAM / 4096QAM </a:t>
            </a:r>
          </a:p>
          <a:p>
            <a:pPr marL="685800" lvl="1" indent="-228600"/>
            <a:r>
              <a:rPr lang="en-US" sz="1400" dirty="0"/>
              <a:t>4096 QAM proprietary mode w/ high-tier 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thernet ports:</a:t>
            </a:r>
          </a:p>
          <a:p>
            <a:pPr lvl="1"/>
            <a:r>
              <a:rPr lang="en-US" sz="1400" dirty="0"/>
              <a:t>1G RJ-45</a:t>
            </a:r>
          </a:p>
          <a:p>
            <a:pPr lvl="1"/>
            <a:r>
              <a:rPr lang="en-US" sz="1400" dirty="0"/>
              <a:t>10G SFP+ for AP and F600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oE IEEE 802.3at – 56V</a:t>
            </a:r>
          </a:p>
          <a:p>
            <a:pPr lvl="1"/>
            <a:r>
              <a:rPr lang="en-US" sz="1400" dirty="0"/>
              <a:t>30W - AP and F600C; 15W - 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PS on AP: built in and exter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ptional external GPS Rx on SM to comply with AF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F4E7C87-FB78-4C3C-B92F-F0C570A260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2100" y="1135740"/>
            <a:ext cx="7967799" cy="207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5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configs: AP</a:t>
            </a:r>
            <a:endParaRPr/>
          </a:p>
        </p:txBody>
      </p:sp>
      <p:pic>
        <p:nvPicPr>
          <p:cNvPr id="61" name="Google Shape;61;p14"/>
          <p:cNvPicPr preferRelativeResize="0"/>
          <p:nvPr/>
        </p:nvPicPr>
        <p:blipFill rotWithShape="1">
          <a:blip r:embed="rId3">
            <a:alphaModFix/>
          </a:blip>
          <a:srcRect b="43601"/>
          <a:stretch/>
        </p:blipFill>
        <p:spPr>
          <a:xfrm>
            <a:off x="0" y="1560167"/>
            <a:ext cx="12191997" cy="351679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configs: SM</a:t>
            </a:r>
            <a:endParaRPr/>
          </a:p>
        </p:txBody>
      </p:sp>
      <p:pic>
        <p:nvPicPr>
          <p:cNvPr id="67" name="Google Shape;67;p15"/>
          <p:cNvPicPr preferRelativeResize="0"/>
          <p:nvPr/>
        </p:nvPicPr>
        <p:blipFill rotWithShape="1">
          <a:blip r:embed="rId3">
            <a:alphaModFix/>
          </a:blip>
          <a:srcRect b="35404"/>
          <a:stretch/>
        </p:blipFill>
        <p:spPr>
          <a:xfrm>
            <a:off x="0" y="1547471"/>
            <a:ext cx="12192000" cy="40057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stats: AP</a:t>
            </a:r>
            <a:endParaRPr/>
          </a:p>
        </p:txBody>
      </p:sp>
      <p:pic>
        <p:nvPicPr>
          <p:cNvPr id="73" name="Google Shape;73;p16"/>
          <p:cNvPicPr preferRelativeResize="0"/>
          <p:nvPr/>
        </p:nvPicPr>
        <p:blipFill rotWithShape="1">
          <a:blip r:embed="rId3">
            <a:alphaModFix/>
          </a:blip>
          <a:srcRect t="19460" b="1462"/>
          <a:stretch/>
        </p:blipFill>
        <p:spPr>
          <a:xfrm>
            <a:off x="1" y="1568067"/>
            <a:ext cx="12191999" cy="45563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stats: SM</a:t>
            </a:r>
            <a:endParaRPr/>
          </a:p>
        </p:txBody>
      </p:sp>
      <p:pic>
        <p:nvPicPr>
          <p:cNvPr id="79" name="Google Shape;79;p17"/>
          <p:cNvPicPr preferRelativeResize="0"/>
          <p:nvPr/>
        </p:nvPicPr>
        <p:blipFill rotWithShape="1">
          <a:blip r:embed="rId3">
            <a:alphaModFix/>
          </a:blip>
          <a:srcRect t="24011" b="1672"/>
          <a:stretch/>
        </p:blipFill>
        <p:spPr>
          <a:xfrm>
            <a:off x="1" y="1542467"/>
            <a:ext cx="12191999" cy="45229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oogle Shape;84;p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86713" y="1356967"/>
            <a:ext cx="8337320" cy="4276267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1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performance: TPUT chart</a:t>
            </a:r>
            <a:endParaRPr/>
          </a:p>
        </p:txBody>
      </p:sp>
      <p:sp>
        <p:nvSpPr>
          <p:cNvPr id="86" name="Google Shape;86;p18"/>
          <p:cNvSpPr txBox="1">
            <a:spLocks noGrp="1"/>
          </p:cNvSpPr>
          <p:nvPr>
            <p:ph type="title"/>
          </p:nvPr>
        </p:nvSpPr>
        <p:spPr>
          <a:xfrm>
            <a:off x="415600" y="5494233"/>
            <a:ext cx="11360800" cy="1364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260 Mbit/s - UL up to 260 Mbit/s</a:t>
            </a:r>
            <a:br>
              <a:rPr lang="en" b="1"/>
            </a:br>
            <a:r>
              <a:rPr lang="en" b="1"/>
              <a:t> DL + UL (bidi) up to 300 Mbit/s </a:t>
            </a:r>
            <a:endParaRPr b="1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6197599" cy="4351338"/>
          </a:xfrm>
        </p:spPr>
        <p:txBody>
          <a:bodyPr>
            <a:normAutofit fontScale="92500"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 dirty="0"/>
              <a:t>802.11ac Wave 2 for up to 5X performanc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4x4 MU-MIM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Wider Chann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Higher Modul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Leader in scalability and interference toleran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dirty="0"/>
              <a:t>Uplink beam-steering and Dynamic Filter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800" dirty="0"/>
              <a:t>Synchroniz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Protects your inves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Compatibility with 11n devices and Elevated de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Improved performance (LDPC and MRC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Lowers TCO (Total Cost of Ownershi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3-year hardware warran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Support direct from the channel and the supplier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</a:t>
            </a:r>
            <a:r>
              <a:rPr lang="en-US" dirty="0" err="1"/>
              <a:t>ePMP</a:t>
            </a:r>
            <a:r>
              <a:rPr lang="en-US" dirty="0"/>
              <a:t>?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3" t="13074"/>
          <a:stretch/>
        </p:blipFill>
        <p:spPr>
          <a:xfrm>
            <a:off x="7035799" y="1236133"/>
            <a:ext cx="7428699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02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20 MHz channels,</a:t>
            </a:r>
            <a:r>
              <a:rPr lang="en"/>
              <a:t> device performance: mikrotik generator</a:t>
            </a:r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title"/>
          </p:nvPr>
        </p:nvSpPr>
        <p:spPr>
          <a:xfrm>
            <a:off x="415600" y="59006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 DL + UL (bidi) up to 300 Mbit/s </a:t>
            </a:r>
            <a:endParaRPr b="1"/>
          </a:p>
        </p:txBody>
      </p:sp>
      <p:pic>
        <p:nvPicPr>
          <p:cNvPr id="93" name="Google Shape;93;p19"/>
          <p:cNvPicPr preferRelativeResize="0"/>
          <p:nvPr/>
        </p:nvPicPr>
        <p:blipFill rotWithShape="1">
          <a:blip r:embed="rId3">
            <a:alphaModFix/>
          </a:blip>
          <a:srcRect l="6445"/>
          <a:stretch/>
        </p:blipFill>
        <p:spPr>
          <a:xfrm>
            <a:off x="0" y="1458567"/>
            <a:ext cx="12192000" cy="1845220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94;p19"/>
          <p:cNvPicPr preferRelativeResize="0"/>
          <p:nvPr/>
        </p:nvPicPr>
        <p:blipFill rotWithShape="1">
          <a:blip r:embed="rId4">
            <a:alphaModFix/>
          </a:blip>
          <a:srcRect l="6015"/>
          <a:stretch/>
        </p:blipFill>
        <p:spPr>
          <a:xfrm>
            <a:off x="0" y="4041734"/>
            <a:ext cx="12191997" cy="1710677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9"/>
          <p:cNvSpPr txBox="1">
            <a:spLocks noGrp="1"/>
          </p:cNvSpPr>
          <p:nvPr>
            <p:ph type="title"/>
          </p:nvPr>
        </p:nvSpPr>
        <p:spPr>
          <a:xfrm>
            <a:off x="415600" y="32590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260 Mbit/s - UL up to 260 Mbit/s</a:t>
            </a:r>
            <a:endParaRPr b="1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40 MHz channels,</a:t>
            </a:r>
            <a:r>
              <a:rPr lang="en"/>
              <a:t> device performance: TPUT chart</a:t>
            </a:r>
            <a:endParaRPr/>
          </a:p>
        </p:txBody>
      </p:sp>
      <p:sp>
        <p:nvSpPr>
          <p:cNvPr id="101" name="Google Shape;101;p20"/>
          <p:cNvSpPr txBox="1">
            <a:spLocks noGrp="1"/>
          </p:cNvSpPr>
          <p:nvPr>
            <p:ph type="title"/>
          </p:nvPr>
        </p:nvSpPr>
        <p:spPr>
          <a:xfrm>
            <a:off x="415600" y="5494233"/>
            <a:ext cx="11360800" cy="1364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&gt; 500 Mbit/s - UL up to &gt; 500 Mbit/s</a:t>
            </a:r>
            <a:br>
              <a:rPr lang="en" b="1"/>
            </a:br>
            <a:r>
              <a:rPr lang="en" b="1"/>
              <a:t> DL + UL (bidi) up to 600 Mbit/s </a:t>
            </a:r>
            <a:endParaRPr b="1"/>
          </a:p>
        </p:txBody>
      </p:sp>
      <p:pic>
        <p:nvPicPr>
          <p:cNvPr id="102" name="Google Shape;102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28801" y="1356367"/>
            <a:ext cx="8534401" cy="414527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40 MHz channels,</a:t>
            </a:r>
            <a:r>
              <a:rPr lang="en"/>
              <a:t> device performance: mikrotik generator</a:t>
            </a:r>
            <a:endParaRPr/>
          </a:p>
        </p:txBody>
      </p:sp>
      <p:sp>
        <p:nvSpPr>
          <p:cNvPr id="108" name="Google Shape;108;p21"/>
          <p:cNvSpPr txBox="1">
            <a:spLocks noGrp="1"/>
          </p:cNvSpPr>
          <p:nvPr>
            <p:ph type="title"/>
          </p:nvPr>
        </p:nvSpPr>
        <p:spPr>
          <a:xfrm>
            <a:off x="415600" y="59006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 DL + UL (bidi) up to 600 Mbit/s</a:t>
            </a:r>
            <a:endParaRPr b="1"/>
          </a:p>
        </p:txBody>
      </p:sp>
      <p:sp>
        <p:nvSpPr>
          <p:cNvPr id="109" name="Google Shape;109;p21"/>
          <p:cNvSpPr txBox="1">
            <a:spLocks noGrp="1"/>
          </p:cNvSpPr>
          <p:nvPr>
            <p:ph type="title"/>
          </p:nvPr>
        </p:nvSpPr>
        <p:spPr>
          <a:xfrm>
            <a:off x="415600" y="32590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>
              <a:buClr>
                <a:schemeClr val="dk1"/>
              </a:buClr>
              <a:buSzPct val="39285"/>
            </a:pPr>
            <a:r>
              <a:rPr lang="en" b="1"/>
              <a:t>DL up to &gt; 500 Mbit/s - UL up to &gt; 500 Mbit/s</a:t>
            </a:r>
            <a:endParaRPr b="1"/>
          </a:p>
        </p:txBody>
      </p:sp>
      <p:pic>
        <p:nvPicPr>
          <p:cNvPr id="110" name="Google Shape;110;p21"/>
          <p:cNvPicPr preferRelativeResize="0"/>
          <p:nvPr/>
        </p:nvPicPr>
        <p:blipFill rotWithShape="1">
          <a:blip r:embed="rId3">
            <a:alphaModFix/>
          </a:blip>
          <a:srcRect l="5979"/>
          <a:stretch/>
        </p:blipFill>
        <p:spPr>
          <a:xfrm>
            <a:off x="-3797" y="1507500"/>
            <a:ext cx="12195796" cy="17106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" name="Google Shape;111;p21"/>
          <p:cNvPicPr preferRelativeResize="0"/>
          <p:nvPr/>
        </p:nvPicPr>
        <p:blipFill rotWithShape="1">
          <a:blip r:embed="rId4">
            <a:alphaModFix/>
          </a:blip>
          <a:srcRect l="5811"/>
          <a:stretch/>
        </p:blipFill>
        <p:spPr>
          <a:xfrm>
            <a:off x="-3799" y="4065109"/>
            <a:ext cx="12192001" cy="17320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22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80 MHz channels,</a:t>
            </a:r>
            <a:r>
              <a:rPr lang="en"/>
              <a:t> device performance: TPUT chart</a:t>
            </a:r>
            <a:endParaRPr/>
          </a:p>
        </p:txBody>
      </p:sp>
      <p:sp>
        <p:nvSpPr>
          <p:cNvPr id="117" name="Google Shape;117;p22"/>
          <p:cNvSpPr txBox="1">
            <a:spLocks noGrp="1"/>
          </p:cNvSpPr>
          <p:nvPr>
            <p:ph type="title"/>
          </p:nvPr>
        </p:nvSpPr>
        <p:spPr>
          <a:xfrm>
            <a:off x="415600" y="5494233"/>
            <a:ext cx="11360800" cy="1364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&gt; 1.1 Gbit/s - UL up to &gt; 1.1 Gbit/s</a:t>
            </a:r>
            <a:br>
              <a:rPr lang="en" b="1"/>
            </a:br>
            <a:r>
              <a:rPr lang="en" b="1"/>
              <a:t> DL + UL (bidi) up to 1.25 Gbit/s </a:t>
            </a:r>
            <a:endParaRPr b="1"/>
          </a:p>
        </p:txBody>
      </p:sp>
      <p:pic>
        <p:nvPicPr>
          <p:cNvPr id="118" name="Google Shape;118;p2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771801" y="1356367"/>
            <a:ext cx="8534401" cy="4145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80 MHz channels,</a:t>
            </a:r>
            <a:r>
              <a:rPr lang="en"/>
              <a:t> device performance: mikrotik generator</a:t>
            </a:r>
            <a:endParaRPr/>
          </a:p>
        </p:txBody>
      </p:sp>
      <p:sp>
        <p:nvSpPr>
          <p:cNvPr id="124" name="Google Shape;124;p23"/>
          <p:cNvSpPr txBox="1">
            <a:spLocks noGrp="1"/>
          </p:cNvSpPr>
          <p:nvPr>
            <p:ph type="title"/>
          </p:nvPr>
        </p:nvSpPr>
        <p:spPr>
          <a:xfrm>
            <a:off x="415600" y="59006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 DL + UL (bidi) up to 1.25 Gbit/s</a:t>
            </a:r>
            <a:endParaRPr b="1"/>
          </a:p>
        </p:txBody>
      </p:sp>
      <p:sp>
        <p:nvSpPr>
          <p:cNvPr id="125" name="Google Shape;125;p23"/>
          <p:cNvSpPr txBox="1">
            <a:spLocks noGrp="1"/>
          </p:cNvSpPr>
          <p:nvPr>
            <p:ph type="title"/>
          </p:nvPr>
        </p:nvSpPr>
        <p:spPr>
          <a:xfrm>
            <a:off x="415600" y="32590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&gt; 1.1 Gbit/s - UL up to &gt; 1.1 Gbit/s</a:t>
            </a:r>
            <a:endParaRPr b="1"/>
          </a:p>
        </p:txBody>
      </p:sp>
      <p:pic>
        <p:nvPicPr>
          <p:cNvPr id="126" name="Google Shape;126;p23"/>
          <p:cNvPicPr preferRelativeResize="0"/>
          <p:nvPr/>
        </p:nvPicPr>
        <p:blipFill rotWithShape="1">
          <a:blip r:embed="rId3">
            <a:alphaModFix/>
          </a:blip>
          <a:srcRect l="5383"/>
          <a:stretch/>
        </p:blipFill>
        <p:spPr>
          <a:xfrm>
            <a:off x="-45433" y="1479641"/>
            <a:ext cx="12195801" cy="17406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p23"/>
          <p:cNvPicPr preferRelativeResize="0"/>
          <p:nvPr/>
        </p:nvPicPr>
        <p:blipFill rotWithShape="1">
          <a:blip r:embed="rId4">
            <a:alphaModFix/>
          </a:blip>
          <a:srcRect l="6085"/>
          <a:stretch/>
        </p:blipFill>
        <p:spPr>
          <a:xfrm>
            <a:off x="-3800" y="4025368"/>
            <a:ext cx="12195800" cy="17596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160 MHz channels,</a:t>
            </a:r>
            <a:r>
              <a:rPr lang="en"/>
              <a:t> device performance: TPUT chart</a:t>
            </a:r>
            <a:endParaRPr/>
          </a:p>
        </p:txBody>
      </p:sp>
      <p:sp>
        <p:nvSpPr>
          <p:cNvPr id="133" name="Google Shape;133;p24"/>
          <p:cNvSpPr txBox="1">
            <a:spLocks noGrp="1"/>
          </p:cNvSpPr>
          <p:nvPr>
            <p:ph type="title"/>
          </p:nvPr>
        </p:nvSpPr>
        <p:spPr>
          <a:xfrm>
            <a:off x="415600" y="5494233"/>
            <a:ext cx="11360800" cy="13640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2.2 Gbit/s - UL up to 2.2 Gbit/s</a:t>
            </a:r>
            <a:br>
              <a:rPr lang="en" b="1"/>
            </a:br>
            <a:r>
              <a:rPr lang="en" b="1"/>
              <a:t> DL + UL (bidi) up to &gt; 2.5 Gbit/s </a:t>
            </a:r>
            <a:endParaRPr b="1"/>
          </a:p>
        </p:txBody>
      </p:sp>
      <p:pic>
        <p:nvPicPr>
          <p:cNvPr id="134" name="Google Shape;134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95985" y="1360367"/>
            <a:ext cx="7800028" cy="41372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2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658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r>
              <a:rPr lang="en" b="1"/>
              <a:t>160 MHz channels,</a:t>
            </a:r>
            <a:r>
              <a:rPr lang="en"/>
              <a:t> device performance: mikrotik generator</a:t>
            </a:r>
            <a:endParaRPr/>
          </a:p>
        </p:txBody>
      </p:sp>
      <p:sp>
        <p:nvSpPr>
          <p:cNvPr id="140" name="Google Shape;140;p25"/>
          <p:cNvSpPr txBox="1">
            <a:spLocks noGrp="1"/>
          </p:cNvSpPr>
          <p:nvPr>
            <p:ph type="title"/>
          </p:nvPr>
        </p:nvSpPr>
        <p:spPr>
          <a:xfrm>
            <a:off x="415600" y="59006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 DL + UL (bidi) up to &gt; 2.5 Gbit/s</a:t>
            </a:r>
            <a:endParaRPr b="1"/>
          </a:p>
        </p:txBody>
      </p:sp>
      <p:sp>
        <p:nvSpPr>
          <p:cNvPr id="141" name="Google Shape;141;p25"/>
          <p:cNvSpPr txBox="1">
            <a:spLocks noGrp="1"/>
          </p:cNvSpPr>
          <p:nvPr>
            <p:ph type="title"/>
          </p:nvPr>
        </p:nvSpPr>
        <p:spPr>
          <a:xfrm>
            <a:off x="415600" y="325903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algn="ctr"/>
            <a:r>
              <a:rPr lang="en" b="1"/>
              <a:t>DL up to 2.2 Gbit/s - UL up to 2.2 Gbit/s</a:t>
            </a:r>
            <a:endParaRPr b="1"/>
          </a:p>
        </p:txBody>
      </p:sp>
      <p:pic>
        <p:nvPicPr>
          <p:cNvPr id="142" name="Google Shape;142;p25"/>
          <p:cNvPicPr preferRelativeResize="0"/>
          <p:nvPr/>
        </p:nvPicPr>
        <p:blipFill rotWithShape="1">
          <a:blip r:embed="rId3">
            <a:alphaModFix/>
          </a:blip>
          <a:srcRect l="5882"/>
          <a:stretch/>
        </p:blipFill>
        <p:spPr>
          <a:xfrm>
            <a:off x="0" y="1475200"/>
            <a:ext cx="12191997" cy="17769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" name="Google Shape;143;p25"/>
          <p:cNvPicPr preferRelativeResize="0"/>
          <p:nvPr/>
        </p:nvPicPr>
        <p:blipFill rotWithShape="1">
          <a:blip r:embed="rId4">
            <a:alphaModFix/>
          </a:blip>
          <a:srcRect l="5087"/>
          <a:stretch/>
        </p:blipFill>
        <p:spPr>
          <a:xfrm>
            <a:off x="0" y="4016334"/>
            <a:ext cx="12192003" cy="17596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7DCF51-52DC-46C1-A86B-C5AB57F61D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5645614"/>
            <a:ext cx="5794872" cy="1078966"/>
          </a:xfrm>
        </p:spPr>
        <p:txBody>
          <a:bodyPr/>
          <a:lstStyle/>
          <a:p>
            <a:r>
              <a:rPr lang="en-US" dirty="0"/>
              <a:t>+1-888-863-5250</a:t>
            </a:r>
          </a:p>
          <a:p>
            <a:r>
              <a:rPr lang="en-US" dirty="0"/>
              <a:t>cambiumnetworks.com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37DBEC8-2689-4221-806F-81D6A370E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67835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E333FCF-C66F-408E-979B-9FE4225E8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7070" y="3176991"/>
            <a:ext cx="4262129" cy="1866626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229064" y="1217293"/>
            <a:ext cx="8046135" cy="5640707"/>
          </a:xfrm>
        </p:spPr>
        <p:txBody>
          <a:bodyPr>
            <a:normAutofit/>
          </a:bodyPr>
          <a:lstStyle/>
          <a:p>
            <a:r>
              <a:rPr lang="en-US" dirty="0"/>
              <a:t>Longer term Cambium benefits</a:t>
            </a:r>
          </a:p>
          <a:p>
            <a:r>
              <a:rPr lang="en-US" sz="2000" b="0" dirty="0"/>
              <a:t>Investment protection and strategic benefits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2000" b="0" dirty="0"/>
              <a:t>Every AC SM you deploy today will be compatible with an 8X8 MU-MIMO AP. This ensures a path to higher order MU-MIMO systems. End result? More capacity in your network simply by swapping APs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2000" b="0" dirty="0"/>
              <a:t>Cambium focus on MU-MIMO is following the trends set by IEEE, 3GPP and 5G. Multiple input/output systems and the ability to send/receive data is the only way to higher tput.  Systems only supporting higher modulation will always be limited by noise/interference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2000" b="0" dirty="0"/>
              <a:t>Cambium support at many levels. An engagement from a senior engineer is a forum post away or a quick escalation away.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US" sz="2000" b="0" dirty="0"/>
              <a:t>A partnership at every level with 3 year warranties and a company willing to be by your side.</a:t>
            </a:r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</a:t>
            </a:r>
            <a:r>
              <a:rPr lang="en-US" dirty="0" err="1"/>
              <a:t>ePMP</a:t>
            </a:r>
            <a:r>
              <a:rPr lang="en-US" dirty="0"/>
              <a:t>?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64227ED-0F28-4CC5-9EA1-ABA8DDCD1841}"/>
              </a:ext>
            </a:extLst>
          </p:cNvPr>
          <p:cNvSpPr/>
          <p:nvPr/>
        </p:nvSpPr>
        <p:spPr>
          <a:xfrm>
            <a:off x="8784423" y="3814276"/>
            <a:ext cx="947293" cy="296028"/>
          </a:xfrm>
          <a:prstGeom prst="ellipse">
            <a:avLst/>
          </a:prstGeom>
          <a:noFill/>
          <a:ln>
            <a:solidFill>
              <a:srgbClr val="D007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444FE8D-8692-4B59-8188-90ADF8B546AF}"/>
              </a:ext>
            </a:extLst>
          </p:cNvPr>
          <p:cNvCxnSpPr>
            <a:cxnSpLocks/>
            <a:stCxn id="14" idx="0"/>
          </p:cNvCxnSpPr>
          <p:nvPr/>
        </p:nvCxnSpPr>
        <p:spPr>
          <a:xfrm flipH="1" flipV="1">
            <a:off x="9558442" y="4196127"/>
            <a:ext cx="947290" cy="1110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3BD01E0-0EDD-4516-A000-A9AB5BBE08E5}"/>
              </a:ext>
            </a:extLst>
          </p:cNvPr>
          <p:cNvSpPr txBox="1"/>
          <p:nvPr/>
        </p:nvSpPr>
        <p:spPr>
          <a:xfrm>
            <a:off x="10078135" y="5307057"/>
            <a:ext cx="8551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MU gain</a:t>
            </a:r>
          </a:p>
        </p:txBody>
      </p:sp>
    </p:spTree>
    <p:extLst>
      <p:ext uri="{BB962C8B-B14F-4D97-AF65-F5344CB8AC3E}">
        <p14:creationId xmlns:p14="http://schemas.microsoft.com/office/powerpoint/2010/main" val="68133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PMP</a:t>
            </a:r>
            <a:r>
              <a:rPr lang="en-GB" dirty="0"/>
              <a:t> Portfolio – Access Points</a:t>
            </a:r>
            <a:endParaRPr lang="en-GB" b="0" dirty="0"/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91" y="1313323"/>
            <a:ext cx="1035816" cy="166175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229" y="1164241"/>
            <a:ext cx="1013634" cy="1971842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6892238" y="3412147"/>
            <a:ext cx="1923511" cy="1600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ePMP 1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.4, 2.5, 6.4 GHz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x2 MIM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ull or Lit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36534" y="3370399"/>
            <a:ext cx="2125223" cy="2092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/>
              <a:t>ePMP</a:t>
            </a:r>
            <a:r>
              <a:rPr lang="en-US" sz="1600" b="1" dirty="0"/>
              <a:t> 3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4x4 MU-MI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ac Wave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20 SM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ynamic Fil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pt. UL Beam-Steer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03" r="24035" b="9639"/>
          <a:stretch/>
        </p:blipFill>
        <p:spPr>
          <a:xfrm>
            <a:off x="128346" y="557692"/>
            <a:ext cx="2333936" cy="299540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854711" y="3370399"/>
            <a:ext cx="1957650" cy="2585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ePMP 2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x2 MI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ull (120 SM) or Lite (10 S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ynamic Fil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pt. UL Beam-Stee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26164" y="3429000"/>
            <a:ext cx="2311587" cy="1354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/>
              <a:t>ePMP</a:t>
            </a:r>
            <a:r>
              <a:rPr lang="en-US" sz="1600" b="1" dirty="0"/>
              <a:t> 3000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x2 MIM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ac Wave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64 SM’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363" y="814853"/>
            <a:ext cx="1854092" cy="282359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892656" y="3412147"/>
            <a:ext cx="1305573" cy="1877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Omni Micro-PO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 GH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x2 MI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ac Wave 2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5749" y="1454504"/>
            <a:ext cx="1459389" cy="145938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8A724DF-3C6E-4435-ABD2-C4B4AF4712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877" y="1353321"/>
            <a:ext cx="1035816" cy="166175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952C7F3-51CF-4B01-911E-F42CB8A7025D}"/>
              </a:ext>
            </a:extLst>
          </p:cNvPr>
          <p:cNvSpPr txBox="1"/>
          <p:nvPr/>
        </p:nvSpPr>
        <p:spPr>
          <a:xfrm>
            <a:off x="10486701" y="3429000"/>
            <a:ext cx="138090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SML (ROW on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5.15 to 6.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x2 MIM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02.11A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on GPS 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censable to 12 SMs</a:t>
            </a:r>
          </a:p>
        </p:txBody>
      </p:sp>
    </p:spTree>
    <p:extLst>
      <p:ext uri="{BB962C8B-B14F-4D97-AF65-F5344CB8AC3E}">
        <p14:creationId xmlns:p14="http://schemas.microsoft.com/office/powerpoint/2010/main" val="32066896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dirty="0"/>
              <a:t>Access Point topologies to fit the Application</a:t>
            </a:r>
          </a:p>
        </p:txBody>
      </p:sp>
      <p:sp>
        <p:nvSpPr>
          <p:cNvPr id="75779" name="Slide Number Placeholder 17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324977" y="6356350"/>
            <a:ext cx="2740025" cy="3635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>
            <a:lvl1pPr defTabSz="912813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5613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2813" indent="-228600" defTabSz="912813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0013" indent="-228600" defTabSz="912813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7213" indent="-228600" defTabSz="912813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-228600" defTabSz="912813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-228600" defTabSz="912813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-228600" defTabSz="912813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-228600" defTabSz="912813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51172F03-21A8-4E43-88BF-92A41230A811}" type="slidenum">
              <a:rPr lang="en-US" altLang="en-US" sz="1200">
                <a:solidFill>
                  <a:srgbClr val="898989"/>
                </a:solidFill>
              </a:rPr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</a:t>
            </a:fld>
            <a:endParaRPr lang="en-US" altLang="en-US" sz="1200" dirty="0">
              <a:solidFill>
                <a:srgbClr val="898989"/>
              </a:solidFill>
            </a:endParaRPr>
          </a:p>
        </p:txBody>
      </p:sp>
      <p:pic>
        <p:nvPicPr>
          <p:cNvPr id="6" name="Picture 5" descr="A close up of a computer&#10;&#10;Description automatically generated">
            <a:extLst>
              <a:ext uri="{FF2B5EF4-FFF2-40B4-BE49-F238E27FC236}">
                <a16:creationId xmlns:a16="http://schemas.microsoft.com/office/drawing/2014/main" id="{B4C50B81-4292-47B7-B37D-94AC4F4F3B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558" y="574331"/>
            <a:ext cx="4331419" cy="2995255"/>
          </a:xfrm>
          <a:prstGeom prst="rect">
            <a:avLst/>
          </a:prstGeom>
        </p:spPr>
      </p:pic>
      <p:pic>
        <p:nvPicPr>
          <p:cNvPr id="9" name="Picture 8" descr="A picture containing wall, indoor, refrigerator, sitting&#10;&#10;Description automatically generated">
            <a:extLst>
              <a:ext uri="{FF2B5EF4-FFF2-40B4-BE49-F238E27FC236}">
                <a16:creationId xmlns:a16="http://schemas.microsoft.com/office/drawing/2014/main" id="{06366CE4-BA1B-45F6-ACE4-EA2A558BD2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5281" y="3760811"/>
            <a:ext cx="1779656" cy="11864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8437FD2-D74C-449D-A990-7AA4077EC5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3380" y="3960598"/>
            <a:ext cx="1407941" cy="2028548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D2BE707-CE72-4056-9C86-EF8DC498EFFC}"/>
              </a:ext>
            </a:extLst>
          </p:cNvPr>
          <p:cNvCxnSpPr/>
          <p:nvPr/>
        </p:nvCxnSpPr>
        <p:spPr>
          <a:xfrm flipH="1">
            <a:off x="7495976" y="2918548"/>
            <a:ext cx="657922" cy="645950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2CE56C6-8403-4A57-A947-FA338EFDE3BC}"/>
              </a:ext>
            </a:extLst>
          </p:cNvPr>
          <p:cNvCxnSpPr>
            <a:cxnSpLocks/>
          </p:cNvCxnSpPr>
          <p:nvPr/>
        </p:nvCxnSpPr>
        <p:spPr>
          <a:xfrm>
            <a:off x="10580276" y="3031586"/>
            <a:ext cx="702831" cy="555457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E3E4681-F373-41F8-8090-9E3C0A9D9F54}"/>
              </a:ext>
            </a:extLst>
          </p:cNvPr>
          <p:cNvCxnSpPr/>
          <p:nvPr/>
        </p:nvCxnSpPr>
        <p:spPr>
          <a:xfrm flipH="1">
            <a:off x="2665971" y="3396088"/>
            <a:ext cx="760699" cy="413321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C512E90-F486-43C5-8136-C567F67860FC}"/>
              </a:ext>
            </a:extLst>
          </p:cNvPr>
          <p:cNvCxnSpPr>
            <a:cxnSpLocks/>
          </p:cNvCxnSpPr>
          <p:nvPr/>
        </p:nvCxnSpPr>
        <p:spPr>
          <a:xfrm>
            <a:off x="4605113" y="3590690"/>
            <a:ext cx="262577" cy="436402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AEE938B5-E2AE-4FF4-8E24-1B5B5D4BC9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7667" y="3956038"/>
            <a:ext cx="1060704" cy="1982419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B76C8B6-D9C9-4067-8E0E-0F07BEF3D3AE}"/>
              </a:ext>
            </a:extLst>
          </p:cNvPr>
          <p:cNvCxnSpPr>
            <a:cxnSpLocks/>
          </p:cNvCxnSpPr>
          <p:nvPr/>
        </p:nvCxnSpPr>
        <p:spPr>
          <a:xfrm flipH="1">
            <a:off x="3418344" y="3486434"/>
            <a:ext cx="381180" cy="451370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6A972095-A47E-426A-802B-BC6F7669E2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6235" y="4051395"/>
            <a:ext cx="499477" cy="164709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508" y="3835227"/>
            <a:ext cx="1084760" cy="150779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52061" y="1163038"/>
            <a:ext cx="2188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ePMP</a:t>
            </a:r>
            <a:r>
              <a:rPr lang="en-US" dirty="0"/>
              <a:t> 3000L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91726" y="1108926"/>
            <a:ext cx="2188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ePMP</a:t>
            </a:r>
            <a:r>
              <a:rPr lang="en-US" dirty="0"/>
              <a:t> 3000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4989" y="3602138"/>
            <a:ext cx="1093208" cy="166321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977" y="3897934"/>
            <a:ext cx="1019317" cy="135932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48466" y="5319011"/>
            <a:ext cx="1583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U-MIMO </a:t>
            </a:r>
          </a:p>
          <a:p>
            <a:r>
              <a:rPr lang="en-US" sz="1400" dirty="0"/>
              <a:t>Secto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466660" y="5342815"/>
            <a:ext cx="1713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U-MIMO Omni</a:t>
            </a:r>
          </a:p>
          <a:p>
            <a:r>
              <a:rPr lang="en-US" sz="1400" dirty="0" err="1"/>
              <a:t>ITELite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7832435" y="5381515"/>
            <a:ext cx="1713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U-MIMO Omni </a:t>
            </a:r>
          </a:p>
          <a:p>
            <a:r>
              <a:rPr lang="en-US" sz="1400" dirty="0"/>
              <a:t>KP Performance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931692" y="5312626"/>
            <a:ext cx="1713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U-MIMO </a:t>
            </a:r>
          </a:p>
          <a:p>
            <a:r>
              <a:rPr lang="en-US" sz="1400" dirty="0"/>
              <a:t>Dual Horn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484" y="1284124"/>
            <a:ext cx="1756609" cy="2675142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835658" y="5966228"/>
            <a:ext cx="919114" cy="307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ector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01156" y="5927590"/>
            <a:ext cx="802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Omni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860244" y="5909490"/>
            <a:ext cx="20038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wist-Port adaptor </a:t>
            </a:r>
          </a:p>
          <a:p>
            <a:r>
              <a:rPr lang="en-US" sz="1400" dirty="0"/>
              <a:t>RF Elements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D2BE707-CE72-4056-9C86-EF8DC498EFFC}"/>
              </a:ext>
            </a:extLst>
          </p:cNvPr>
          <p:cNvCxnSpPr>
            <a:cxnSpLocks/>
          </p:cNvCxnSpPr>
          <p:nvPr/>
        </p:nvCxnSpPr>
        <p:spPr>
          <a:xfrm>
            <a:off x="8641335" y="3022773"/>
            <a:ext cx="0" cy="567437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D2BE707-CE72-4056-9C86-EF8DC498EFFC}"/>
              </a:ext>
            </a:extLst>
          </p:cNvPr>
          <p:cNvCxnSpPr/>
          <p:nvPr/>
        </p:nvCxnSpPr>
        <p:spPr>
          <a:xfrm>
            <a:off x="9328143" y="3035292"/>
            <a:ext cx="434693" cy="593414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40" y="1697767"/>
            <a:ext cx="1847856" cy="1847856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251024" y="1115127"/>
            <a:ext cx="21882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ePMP</a:t>
            </a:r>
            <a:r>
              <a:rPr lang="en-US" dirty="0"/>
              <a:t> </a:t>
            </a:r>
            <a:r>
              <a:rPr lang="en-US" dirty="0" err="1"/>
              <a:t>MicroPO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773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ePMP Force 300 (802.11ac Wave 2) Subscriber Module Portfolio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699" y="1172057"/>
            <a:ext cx="2311107" cy="126155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4190" y="1184596"/>
            <a:ext cx="1593606" cy="120183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81" y="4547459"/>
            <a:ext cx="1710992" cy="1892387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257864" y="2597557"/>
            <a:ext cx="2209156" cy="13848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F300-25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25dBi gain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Gigabit Ethernet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eal time spectrum analyzer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11018" y="2594876"/>
            <a:ext cx="2826221" cy="153888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F300-16 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6dBi gain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Gigabit Ethernet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Real time spectrum analyzer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mall form factor</a:t>
            </a:r>
          </a:p>
          <a:p>
            <a:pPr marL="285578" indent="-285578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5 degree Azimuth/Vertical orientat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87369" y="2724066"/>
            <a:ext cx="3187885" cy="1442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F300 CSM (IP67)</a:t>
            </a:r>
          </a:p>
          <a:p>
            <a:pPr marL="171399" indent="-171399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2X2 Wave 2 Connectorized SM</a:t>
            </a:r>
          </a:p>
          <a:p>
            <a:pPr marL="171399" indent="-171399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Support for external horns and dish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44402" y="4960309"/>
            <a:ext cx="1710992" cy="12020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/>
              <a:t>F300-19  (IP55)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2X2 Wave 2 SM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19 </a:t>
            </a:r>
            <a:r>
              <a:rPr lang="en-US" b="0" dirty="0" err="1"/>
              <a:t>dBi</a:t>
            </a:r>
            <a:r>
              <a:rPr lang="en-US" b="0" dirty="0"/>
              <a:t> gain flat panel antenna</a:t>
            </a:r>
          </a:p>
          <a:p>
            <a:endParaRPr lang="en-US" sz="1799" b="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9426" y="4783201"/>
            <a:ext cx="859711" cy="1352705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363545" y="5060973"/>
            <a:ext cx="1851008" cy="10972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/>
              <a:t>F300-13 (IP55)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2X2 Wave 2 SM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13dBi gai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B81AD1E-5C9A-45CF-B4F6-684065A6C7D3}"/>
              </a:ext>
            </a:extLst>
          </p:cNvPr>
          <p:cNvGrpSpPr/>
          <p:nvPr/>
        </p:nvGrpSpPr>
        <p:grpSpPr>
          <a:xfrm>
            <a:off x="5605035" y="868056"/>
            <a:ext cx="2074305" cy="2113129"/>
            <a:chOff x="6349426" y="732086"/>
            <a:chExt cx="2627355" cy="256563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48186" y="1319513"/>
              <a:ext cx="928595" cy="1333801"/>
            </a:xfrm>
            <a:prstGeom prst="rect">
              <a:avLst/>
            </a:prstGeom>
          </p:spPr>
        </p:pic>
        <p:sp>
          <p:nvSpPr>
            <p:cNvPr id="16" name="Plus 15"/>
            <p:cNvSpPr/>
            <p:nvPr/>
          </p:nvSpPr>
          <p:spPr>
            <a:xfrm>
              <a:off x="7602197" y="1835549"/>
              <a:ext cx="431934" cy="401477"/>
            </a:xfrm>
            <a:prstGeom prst="mathPlus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8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9426" y="732086"/>
              <a:ext cx="1684705" cy="2565639"/>
            </a:xfrm>
            <a:prstGeom prst="rect">
              <a:avLst/>
            </a:prstGeom>
          </p:spPr>
        </p:pic>
      </p:grpSp>
      <p:sp>
        <p:nvSpPr>
          <p:cNvPr id="17" name="TextBox 16"/>
          <p:cNvSpPr txBox="1"/>
          <p:nvPr/>
        </p:nvSpPr>
        <p:spPr>
          <a:xfrm>
            <a:off x="3440287" y="4872992"/>
            <a:ext cx="2754731" cy="1376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/>
              <a:t>F300-19R  (IP67)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2X2 Wave 2 SM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19 </a:t>
            </a:r>
            <a:r>
              <a:rPr lang="en-US" b="0" dirty="0" err="1"/>
              <a:t>dBi</a:t>
            </a:r>
            <a:r>
              <a:rPr lang="en-US" b="0" dirty="0"/>
              <a:t> gain flat panel antenna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Adds 5/10 MHz channel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0" dirty="0"/>
              <a:t>Enterprise SW Plan of Intent</a:t>
            </a:r>
          </a:p>
          <a:p>
            <a:endParaRPr lang="en-US" sz="1799" b="0" dirty="0"/>
          </a:p>
        </p:txBody>
      </p:sp>
      <p:sp>
        <p:nvSpPr>
          <p:cNvPr id="23" name="TextBox 22"/>
          <p:cNvSpPr txBox="1"/>
          <p:nvPr/>
        </p:nvSpPr>
        <p:spPr>
          <a:xfrm>
            <a:off x="8982088" y="2594876"/>
            <a:ext cx="1794770" cy="16927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>
                <a:latin typeface="Calibri"/>
                <a:cs typeface="Calibri"/>
              </a:rPr>
              <a:t>F300-13L (IP55)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Low-Cost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2X2 Wave 2 SM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13dBi gain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Not available in N. America</a:t>
            </a:r>
          </a:p>
        </p:txBody>
      </p:sp>
      <p:pic>
        <p:nvPicPr>
          <p:cNvPr id="26" name="Picture 25" descr="A picture containing indoor, sitting&#10;&#10;Description generated with high confidence">
            <a:extLst>
              <a:ext uri="{FF2B5EF4-FFF2-40B4-BE49-F238E27FC236}">
                <a16:creationId xmlns:a16="http://schemas.microsoft.com/office/drawing/2014/main" id="{A58D17FF-2885-4824-BE03-A34FC3A0217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9132" y="1314094"/>
            <a:ext cx="609162" cy="12562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DF874A9-3BF7-4116-8B66-6251ADE582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51284" y="4547459"/>
            <a:ext cx="955695" cy="109727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70E73C8-6679-4342-B072-6A99C8D07966}"/>
              </a:ext>
            </a:extLst>
          </p:cNvPr>
          <p:cNvSpPr txBox="1"/>
          <p:nvPr/>
        </p:nvSpPr>
        <p:spPr>
          <a:xfrm>
            <a:off x="10238294" y="4425138"/>
            <a:ext cx="1794770" cy="20147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1600" dirty="0">
                <a:latin typeface="Calibri"/>
                <a:cs typeface="Calibri"/>
              </a:rPr>
              <a:t>F200L &amp; 325L (ROW)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Low-Cost 11n &amp; 11AC SM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4.9 to 6200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No dedicated SA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b="0" dirty="0">
                <a:latin typeface="Calibri"/>
                <a:cs typeface="Calibri"/>
              </a:rPr>
              <a:t>Peak tput @80 ~400Mbps</a:t>
            </a:r>
          </a:p>
        </p:txBody>
      </p:sp>
    </p:spTree>
    <p:extLst>
      <p:ext uri="{BB962C8B-B14F-4D97-AF65-F5344CB8AC3E}">
        <p14:creationId xmlns:p14="http://schemas.microsoft.com/office/powerpoint/2010/main" val="255137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ce 300 Subscriber Module Portfolio Summary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68216" y="986297"/>
          <a:ext cx="11655567" cy="3715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0090">
                  <a:extLst>
                    <a:ext uri="{9D8B030D-6E8A-4147-A177-3AD203B41FA5}">
                      <a16:colId xmlns:a16="http://schemas.microsoft.com/office/drawing/2014/main" val="3214177739"/>
                    </a:ext>
                  </a:extLst>
                </a:gridCol>
                <a:gridCol w="1347469">
                  <a:extLst>
                    <a:ext uri="{9D8B030D-6E8A-4147-A177-3AD203B41FA5}">
                      <a16:colId xmlns:a16="http://schemas.microsoft.com/office/drawing/2014/main" val="339274176"/>
                    </a:ext>
                  </a:extLst>
                </a:gridCol>
                <a:gridCol w="1347469">
                  <a:extLst>
                    <a:ext uri="{9D8B030D-6E8A-4147-A177-3AD203B41FA5}">
                      <a16:colId xmlns:a16="http://schemas.microsoft.com/office/drawing/2014/main" val="3481159512"/>
                    </a:ext>
                  </a:extLst>
                </a:gridCol>
                <a:gridCol w="1911634">
                  <a:extLst>
                    <a:ext uri="{9D8B030D-6E8A-4147-A177-3AD203B41FA5}">
                      <a16:colId xmlns:a16="http://schemas.microsoft.com/office/drawing/2014/main" val="491039711"/>
                    </a:ext>
                  </a:extLst>
                </a:gridCol>
                <a:gridCol w="1209964">
                  <a:extLst>
                    <a:ext uri="{9D8B030D-6E8A-4147-A177-3AD203B41FA5}">
                      <a16:colId xmlns:a16="http://schemas.microsoft.com/office/drawing/2014/main" val="2196427871"/>
                    </a:ext>
                  </a:extLst>
                </a:gridCol>
                <a:gridCol w="1588961">
                  <a:extLst>
                    <a:ext uri="{9D8B030D-6E8A-4147-A177-3AD203B41FA5}">
                      <a16:colId xmlns:a16="http://schemas.microsoft.com/office/drawing/2014/main" val="3669107089"/>
                    </a:ext>
                  </a:extLst>
                </a:gridCol>
                <a:gridCol w="1497395">
                  <a:extLst>
                    <a:ext uri="{9D8B030D-6E8A-4147-A177-3AD203B41FA5}">
                      <a16:colId xmlns:a16="http://schemas.microsoft.com/office/drawing/2014/main" val="3816454737"/>
                    </a:ext>
                  </a:extLst>
                </a:gridCol>
                <a:gridCol w="1472585">
                  <a:extLst>
                    <a:ext uri="{9D8B030D-6E8A-4147-A177-3AD203B41FA5}">
                      <a16:colId xmlns:a16="http://schemas.microsoft.com/office/drawing/2014/main" val="1533002239"/>
                    </a:ext>
                  </a:extLst>
                </a:gridCol>
              </a:tblGrid>
              <a:tr h="380901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13L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13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16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19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2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00-19R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</a:t>
                      </a:r>
                      <a:r>
                        <a:rPr lang="en-US" sz="1800" baseline="0"/>
                        <a:t>00  CSM</a:t>
                      </a:r>
                      <a:endParaRPr lang="en-US" sz="1800"/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428116892"/>
                  </a:ext>
                </a:extLst>
              </a:tr>
              <a:tr h="914162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046381964"/>
                  </a:ext>
                </a:extLst>
              </a:tr>
              <a:tr h="653778">
                <a:tc>
                  <a:txBody>
                    <a:bodyPr/>
                    <a:lstStyle/>
                    <a:p>
                      <a:r>
                        <a:rPr lang="en-US" sz="1800"/>
                        <a:t>Form</a:t>
                      </a:r>
                      <a:r>
                        <a:rPr lang="en-US" sz="1800" baseline="0"/>
                        <a:t> Factor</a:t>
                      </a:r>
                      <a:endParaRPr lang="en-US" sz="18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3 dBi </a:t>
                      </a:r>
                      <a:br>
                        <a:rPr lang="en-US" sz="1600"/>
                      </a:br>
                      <a:r>
                        <a:rPr lang="en-US" sz="1600"/>
                        <a:t>Panel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3 dBi </a:t>
                      </a:r>
                      <a:br>
                        <a:rPr lang="en-US" sz="1600"/>
                      </a:br>
                      <a:r>
                        <a:rPr lang="en-US" sz="1600"/>
                        <a:t>Panel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6 dBi </a:t>
                      </a:r>
                      <a:br>
                        <a:rPr lang="en-US" sz="1600"/>
                      </a:br>
                      <a:r>
                        <a:rPr lang="en-US" sz="1600"/>
                        <a:t>Panel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9 dBi</a:t>
                      </a:r>
                      <a:r>
                        <a:rPr lang="en-US" sz="1600" baseline="0"/>
                        <a:t> Panel</a:t>
                      </a:r>
                      <a:endParaRPr lang="en-US" sz="16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25 dBi</a:t>
                      </a:r>
                      <a:r>
                        <a:rPr lang="en-US" sz="1600" baseline="0"/>
                        <a:t> </a:t>
                      </a:r>
                      <a:br>
                        <a:rPr lang="en-US" sz="1600" baseline="0"/>
                      </a:br>
                      <a:r>
                        <a:rPr lang="en-US" sz="1600" baseline="0"/>
                        <a:t>Dish</a:t>
                      </a:r>
                      <a:endParaRPr lang="en-US" sz="16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19 dBi </a:t>
                      </a:r>
                      <a:br>
                        <a:rPr lang="en-US" sz="1600"/>
                      </a:br>
                      <a:r>
                        <a:rPr lang="en-US" sz="1600"/>
                        <a:t>Panel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Connectorized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2280924668"/>
                  </a:ext>
                </a:extLst>
              </a:tr>
              <a:tr h="1400953">
                <a:tc>
                  <a:txBody>
                    <a:bodyPr/>
                    <a:lstStyle/>
                    <a:p>
                      <a:r>
                        <a:rPr lang="en-US" sz="1800"/>
                        <a:t>Applications / Key Features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marL="171450" indent="-171450" algn="ctr">
                        <a:buFont typeface="Arial"/>
                        <a:buChar char="•"/>
                      </a:pPr>
                      <a:r>
                        <a:rPr lang="en-US" sz="1200"/>
                        <a:t>Short-range</a:t>
                      </a:r>
                    </a:p>
                    <a:p>
                      <a:pPr marL="171450" indent="-171450" algn="ctr">
                        <a:buFont typeface="Arial"/>
                        <a:buChar char="•"/>
                      </a:pPr>
                      <a:r>
                        <a:rPr lang="en-US" sz="1200"/>
                        <a:t>SM or PTP</a:t>
                      </a:r>
                    </a:p>
                    <a:p>
                      <a:pPr marL="171450" lvl="0" indent="-171450" algn="ctr">
                        <a:buFont typeface="Arial"/>
                        <a:buChar char="•"/>
                      </a:pPr>
                      <a:r>
                        <a:rPr lang="en-US" sz="1200"/>
                        <a:t>Not available in N.America sales region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Short-range</a:t>
                      </a:r>
                    </a:p>
                    <a:p>
                      <a:pPr algn="ctr"/>
                      <a:r>
                        <a:rPr lang="en-US" sz="1200"/>
                        <a:t>SM or PTP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d-Range</a:t>
                      </a:r>
                    </a:p>
                    <a:p>
                      <a:pPr algn="ctr"/>
                      <a:r>
                        <a:rPr lang="en-US" sz="1200"/>
                        <a:t>SM or</a:t>
                      </a:r>
                      <a:r>
                        <a:rPr lang="en-US" sz="1200" baseline="0"/>
                        <a:t> PTP</a:t>
                      </a:r>
                      <a:endParaRPr lang="en-US" sz="12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d-Range</a:t>
                      </a:r>
                    </a:p>
                    <a:p>
                      <a:pPr algn="ctr"/>
                      <a:r>
                        <a:rPr lang="en-US" sz="1200"/>
                        <a:t>SM</a:t>
                      </a:r>
                      <a:r>
                        <a:rPr lang="en-US" sz="1200" baseline="0"/>
                        <a:t> or PTP</a:t>
                      </a:r>
                      <a:endParaRPr lang="en-US" sz="1200"/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ong-Range</a:t>
                      </a:r>
                    </a:p>
                    <a:p>
                      <a:pPr algn="ctr"/>
                      <a:r>
                        <a:rPr lang="en-US" sz="1200"/>
                        <a:t>SM or PTP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Mid-Range</a:t>
                      </a:r>
                    </a:p>
                    <a:p>
                      <a:pPr algn="ctr"/>
                      <a:r>
                        <a:rPr lang="en-US" sz="1200"/>
                        <a:t>SM or PTP</a:t>
                      </a:r>
                    </a:p>
                    <a:p>
                      <a:pPr algn="ctr"/>
                      <a:r>
                        <a:rPr lang="en-US" sz="1200"/>
                        <a:t>+</a:t>
                      </a:r>
                      <a:r>
                        <a:rPr lang="en-US" sz="1200" baseline="0"/>
                        <a:t> 5/10 MHz PTP</a:t>
                      </a:r>
                    </a:p>
                    <a:p>
                      <a:pPr algn="ctr"/>
                      <a:r>
                        <a:rPr lang="en-US" sz="1200" baseline="0"/>
                        <a:t>+ Enterprise features (256AES, SNMPv3)</a:t>
                      </a:r>
                    </a:p>
                    <a:p>
                      <a:pPr algn="ctr"/>
                      <a:r>
                        <a:rPr lang="en-US" sz="1200" baseline="0"/>
                        <a:t>+ 4.9 GHz FCC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Long-range</a:t>
                      </a:r>
                    </a:p>
                    <a:p>
                      <a:pPr algn="ctr"/>
                      <a:r>
                        <a:rPr lang="en-US" sz="1200"/>
                        <a:t>SM</a:t>
                      </a:r>
                      <a:r>
                        <a:rPr lang="en-US" sz="1200" baseline="0"/>
                        <a:t> or PTP</a:t>
                      </a:r>
                    </a:p>
                    <a:p>
                      <a:pPr algn="ctr"/>
                      <a:r>
                        <a:rPr lang="en-US" sz="1200" baseline="0"/>
                        <a:t>Twistport compatible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732192180"/>
                  </a:ext>
                </a:extLst>
              </a:tr>
              <a:tr h="365665">
                <a:tc>
                  <a:txBody>
                    <a:bodyPr/>
                    <a:lstStyle/>
                    <a:p>
                      <a:r>
                        <a:rPr lang="en-US" sz="1800"/>
                        <a:t>IP Rating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5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5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5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5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55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IP67</a:t>
                      </a:r>
                    </a:p>
                  </a:txBody>
                  <a:tcPr marL="91416" marR="91416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P67</a:t>
                      </a:r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459550015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9727" y="1295957"/>
            <a:ext cx="730239" cy="111208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6379" y="1470048"/>
            <a:ext cx="847082" cy="6388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1371" y="1467788"/>
            <a:ext cx="1111071" cy="6064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1446" y="1444670"/>
            <a:ext cx="642463" cy="7105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5062" y="1480540"/>
            <a:ext cx="642463" cy="7105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6110" y="1459136"/>
            <a:ext cx="478810" cy="75338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38200" y="4850607"/>
            <a:ext cx="7758950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600" b="1" dirty="0"/>
              <a:t>All support: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/>
              <a:t>802.11ac Wave 2</a:t>
            </a:r>
            <a:endParaRPr lang="en-US" sz="1400" dirty="0">
              <a:cs typeface="Arial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/>
              <a:t>20/40/80 MHz channels up to 256QAM</a:t>
            </a:r>
            <a:endParaRPr lang="en-US" sz="1400" dirty="0">
              <a:cs typeface="Arial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/>
              <a:t>600 Mbps max capacity (300-13L = 400 Mbps)</a:t>
            </a:r>
            <a:endParaRPr lang="en-US" sz="1400" dirty="0">
              <a:cs typeface="Arial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/>
              <a:t>Synchronization with appropriate AP</a:t>
            </a:r>
            <a:endParaRPr lang="en-US" sz="1400" dirty="0"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27703" y="5096829"/>
            <a:ext cx="53068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1400" dirty="0"/>
              <a:t>Compatible with </a:t>
            </a:r>
            <a:r>
              <a:rPr lang="en-US" sz="1400" dirty="0" err="1"/>
              <a:t>ePMP</a:t>
            </a:r>
            <a:r>
              <a:rPr lang="en-US" sz="1400" dirty="0"/>
              <a:t> 3000, 3000L, 2000 and 1000 Access Point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1400" dirty="0"/>
              <a:t>LINKPlanner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1400" dirty="0"/>
              <a:t>cnMaestro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1400" dirty="0" err="1"/>
              <a:t>cnHeat</a:t>
            </a:r>
            <a:endParaRPr lang="en-US" sz="1400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4D7A4654-2AEA-4203-8816-5D0C651C523A}" type="slidenum">
              <a:rPr lang="en-US" smtClean="0"/>
              <a:t>7</a:t>
            </a:fld>
            <a:endParaRPr lang="en-US"/>
          </a:p>
        </p:txBody>
      </p:sp>
      <p:pic>
        <p:nvPicPr>
          <p:cNvPr id="15" name="Picture 14" descr="A picture containing indoor, sitting&#10;&#10;Description generated with high confidence">
            <a:extLst>
              <a:ext uri="{FF2B5EF4-FFF2-40B4-BE49-F238E27FC236}">
                <a16:creationId xmlns:a16="http://schemas.microsoft.com/office/drawing/2014/main" id="{A58D17FF-2885-4824-BE03-A34FC3A021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34626" y="1454749"/>
            <a:ext cx="376052" cy="77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06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ing the ePMP Force 425 and Force 400C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4294967295"/>
          </p:nvPr>
        </p:nvSpPr>
        <p:spPr>
          <a:xfrm>
            <a:off x="226761" y="1745474"/>
            <a:ext cx="5731031" cy="464217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Target Markets / Applications</a:t>
            </a:r>
          </a:p>
          <a:p>
            <a:pPr lvl="1"/>
            <a:r>
              <a:rPr lang="en-US" sz="1800" dirty="0"/>
              <a:t>High-capacity Enterprise point to point</a:t>
            </a:r>
          </a:p>
          <a:p>
            <a:pPr lvl="1"/>
            <a:r>
              <a:rPr lang="en-US" sz="1800" dirty="0"/>
              <a:t>Low-cost WISP back-haul</a:t>
            </a:r>
          </a:p>
          <a:p>
            <a:pPr lvl="1"/>
            <a:r>
              <a:rPr lang="en-US" sz="1800" dirty="0"/>
              <a:t>GPON last mile</a:t>
            </a:r>
          </a:p>
          <a:p>
            <a:pPr lvl="1"/>
            <a:endParaRPr lang="en-US" sz="1800" dirty="0"/>
          </a:p>
          <a:p>
            <a:pPr marL="0" indent="0">
              <a:buNone/>
            </a:pPr>
            <a:r>
              <a:rPr lang="en-US" sz="1800" dirty="0"/>
              <a:t>Key Specifications</a:t>
            </a:r>
          </a:p>
          <a:p>
            <a:pPr lvl="1"/>
            <a:r>
              <a:rPr lang="en-US" sz="1600" dirty="0"/>
              <a:t>Up to 1Gbps usable throughput</a:t>
            </a:r>
          </a:p>
          <a:p>
            <a:pPr lvl="1"/>
            <a:r>
              <a:rPr lang="en-US" sz="1600" dirty="0"/>
              <a:t>Sub 5 </a:t>
            </a:r>
            <a:r>
              <a:rPr lang="en-US" sz="1600" dirty="0" err="1"/>
              <a:t>ms</a:t>
            </a:r>
            <a:r>
              <a:rPr lang="en-US" sz="1600" dirty="0"/>
              <a:t> latency</a:t>
            </a:r>
          </a:p>
          <a:p>
            <a:pPr lvl="1"/>
            <a:r>
              <a:rPr lang="en-US" sz="1600" dirty="0"/>
              <a:t>4.9 to 6.135 GHz – </a:t>
            </a:r>
            <a:r>
              <a:rPr lang="en-US" sz="1600" b="1" dirty="0"/>
              <a:t>an additional~230MHz for ROW!</a:t>
            </a:r>
          </a:p>
          <a:p>
            <a:pPr lvl="1"/>
            <a:r>
              <a:rPr lang="en-US" sz="1600" dirty="0"/>
              <a:t>25 </a:t>
            </a:r>
            <a:r>
              <a:rPr lang="en-US" sz="1600" dirty="0" err="1"/>
              <a:t>dBi</a:t>
            </a:r>
            <a:r>
              <a:rPr lang="en-US" sz="1600" dirty="0"/>
              <a:t> integrated dish (</a:t>
            </a:r>
            <a:r>
              <a:rPr lang="en-US" sz="1600" b="1" dirty="0"/>
              <a:t>optional 28 </a:t>
            </a:r>
            <a:r>
              <a:rPr lang="en-US" sz="1600" b="1" dirty="0" err="1"/>
              <a:t>dBi</a:t>
            </a:r>
            <a:r>
              <a:rPr lang="en-US" sz="1600" b="1" dirty="0"/>
              <a:t> range extender - a first for Cambium</a:t>
            </a:r>
            <a:r>
              <a:rPr lang="en-US" sz="1600" dirty="0"/>
              <a:t>)</a:t>
            </a:r>
          </a:p>
          <a:p>
            <a:pPr lvl="1"/>
            <a:r>
              <a:rPr lang="en-US" sz="1600" dirty="0"/>
              <a:t>IP67 Ruggedization </a:t>
            </a:r>
          </a:p>
          <a:p>
            <a:pPr lvl="1"/>
            <a:r>
              <a:rPr lang="en-US" sz="1600" dirty="0"/>
              <a:t>GigE and SFP port (</a:t>
            </a:r>
            <a:r>
              <a:rPr lang="en-US" sz="1600" b="1" dirty="0"/>
              <a:t>optional GPON module – a first for Cambium</a:t>
            </a:r>
            <a:r>
              <a:rPr lang="en-US" sz="1600" dirty="0"/>
              <a:t>)</a:t>
            </a:r>
          </a:p>
          <a:p>
            <a:pPr marL="173038" lvl="1" indent="0">
              <a:buNone/>
            </a:pPr>
            <a:endParaRPr lang="en-US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8285043" y="1252091"/>
            <a:ext cx="3061448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igabit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t-mile Fiber alternativ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164451" y="5872529"/>
            <a:ext cx="1355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ce 42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023582" y="5554833"/>
            <a:ext cx="16755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ce 400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B9AE8D7-234C-44D7-8BFC-C50F946A4A1F}"/>
              </a:ext>
            </a:extLst>
          </p:cNvPr>
          <p:cNvSpPr txBox="1"/>
          <p:nvPr/>
        </p:nvSpPr>
        <p:spPr>
          <a:xfrm>
            <a:off x="188079" y="1205924"/>
            <a:ext cx="7437757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Industry first proprietary point to point product based on 802.11ax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5490" y="1166889"/>
            <a:ext cx="2879834" cy="47572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3245" y="2607956"/>
            <a:ext cx="1345325" cy="26066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23315" y="2607956"/>
            <a:ext cx="704194" cy="271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21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Box 35"/>
          <p:cNvSpPr txBox="1">
            <a:spLocks noChangeArrowheads="1"/>
          </p:cNvSpPr>
          <p:nvPr/>
        </p:nvSpPr>
        <p:spPr bwMode="auto">
          <a:xfrm>
            <a:off x="8223846" y="1261871"/>
            <a:ext cx="1183681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dirty="0"/>
              <a:t>Compatibility to 11ac/11n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876302" y="1090613"/>
            <a:ext cx="9525" cy="526415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885827" y="6324601"/>
            <a:ext cx="9774237" cy="301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778251" y="6373814"/>
            <a:ext cx="440055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799" b="1" dirty="0"/>
              <a:t>Performance</a:t>
            </a: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1593849" y="3362325"/>
            <a:ext cx="4398962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799" b="1" dirty="0"/>
              <a:t>Interference mitigation</a:t>
            </a:r>
          </a:p>
        </p:txBody>
      </p:sp>
      <p:pic>
        <p:nvPicPr>
          <p:cNvPr id="35847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788" y="3702050"/>
            <a:ext cx="685800" cy="101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8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789" y="4851401"/>
            <a:ext cx="1350963" cy="10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9" name="Picture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2" y="2257425"/>
            <a:ext cx="687387" cy="115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0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526" y="3498850"/>
            <a:ext cx="1477962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1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014" y="1636713"/>
            <a:ext cx="962025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2" name="Picture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8477" y="1179514"/>
            <a:ext cx="17541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Arc 30"/>
          <p:cNvSpPr/>
          <p:nvPr/>
        </p:nvSpPr>
        <p:spPr>
          <a:xfrm rot="16450187">
            <a:off x="3444083" y="4040982"/>
            <a:ext cx="1303337" cy="1606550"/>
          </a:xfrm>
          <a:prstGeom prst="arc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6" tIns="45708" rIns="91416" bIns="45708" anchor="ctr"/>
          <a:lstStyle/>
          <a:p>
            <a:pPr algn="ctr">
              <a:defRPr/>
            </a:pPr>
            <a:endParaRPr lang="en-US" sz="1799"/>
          </a:p>
        </p:txBody>
      </p:sp>
      <p:sp>
        <p:nvSpPr>
          <p:cNvPr id="35855" name="TextBox 31"/>
          <p:cNvSpPr txBox="1">
            <a:spLocks noChangeArrowheads="1"/>
          </p:cNvSpPr>
          <p:nvPr/>
        </p:nvSpPr>
        <p:spPr bwMode="auto">
          <a:xfrm>
            <a:off x="3275014" y="4511676"/>
            <a:ext cx="1008063" cy="6461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dirty="0"/>
              <a:t>Backwards compatible SMs</a:t>
            </a:r>
          </a:p>
        </p:txBody>
      </p:sp>
      <p:sp>
        <p:nvSpPr>
          <p:cNvPr id="34" name="Arc 33"/>
          <p:cNvSpPr/>
          <p:nvPr/>
        </p:nvSpPr>
        <p:spPr>
          <a:xfrm rot="16923223">
            <a:off x="5995856" y="2300983"/>
            <a:ext cx="1575718" cy="2042275"/>
          </a:xfrm>
          <a:prstGeom prst="arc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6" tIns="45708" rIns="91416" bIns="45708" anchor="ctr"/>
          <a:lstStyle/>
          <a:p>
            <a:pPr algn="ctr">
              <a:defRPr/>
            </a:pPr>
            <a:endParaRPr lang="en-US" sz="1799"/>
          </a:p>
        </p:txBody>
      </p:sp>
      <p:sp>
        <p:nvSpPr>
          <p:cNvPr id="35859" name="TextBox 36"/>
          <p:cNvSpPr txBox="1">
            <a:spLocks noChangeArrowheads="1"/>
          </p:cNvSpPr>
          <p:nvPr/>
        </p:nvSpPr>
        <p:spPr bwMode="auto">
          <a:xfrm>
            <a:off x="5654957" y="1804196"/>
            <a:ext cx="1168156" cy="6461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dirty="0"/>
              <a:t>Compatibility to 11ac in 11n + mode</a:t>
            </a:r>
          </a:p>
        </p:txBody>
      </p:sp>
      <p:sp>
        <p:nvSpPr>
          <p:cNvPr id="38" name="Arc 37"/>
          <p:cNvSpPr/>
          <p:nvPr/>
        </p:nvSpPr>
        <p:spPr>
          <a:xfrm rot="16923223">
            <a:off x="8561388" y="2071688"/>
            <a:ext cx="1155700" cy="1270000"/>
          </a:xfrm>
          <a:prstGeom prst="arc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6" tIns="45708" rIns="91416" bIns="45708" anchor="ctr"/>
          <a:lstStyle/>
          <a:p>
            <a:pPr algn="ctr">
              <a:defRPr/>
            </a:pPr>
            <a:endParaRPr lang="en-US" sz="1799"/>
          </a:p>
        </p:txBody>
      </p:sp>
      <p:cxnSp>
        <p:nvCxnSpPr>
          <p:cNvPr id="41" name="Straight Connector 40"/>
          <p:cNvCxnSpPr/>
          <p:nvPr/>
        </p:nvCxnSpPr>
        <p:spPr>
          <a:xfrm>
            <a:off x="1327151" y="1179513"/>
            <a:ext cx="9251950" cy="3929062"/>
          </a:xfrm>
          <a:prstGeom prst="line">
            <a:avLst/>
          </a:prstGeom>
          <a:ln w="28575">
            <a:solidFill>
              <a:schemeClr val="accent1">
                <a:alpha val="33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 rot="1412032">
            <a:off x="1743077" y="2024064"/>
            <a:ext cx="274637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799" b="1" dirty="0"/>
              <a:t>Mbps/$</a:t>
            </a:r>
          </a:p>
        </p:txBody>
      </p:sp>
      <p:sp>
        <p:nvSpPr>
          <p:cNvPr id="43" name="TextBox 42"/>
          <p:cNvSpPr txBox="1"/>
          <p:nvPr/>
        </p:nvSpPr>
        <p:spPr>
          <a:xfrm rot="1412032">
            <a:off x="7686677" y="4545014"/>
            <a:ext cx="274637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799" b="1" dirty="0"/>
              <a:t>Mbps/$</a:t>
            </a:r>
          </a:p>
        </p:txBody>
      </p:sp>
      <p:pic>
        <p:nvPicPr>
          <p:cNvPr id="35865" name="Picture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738" y="2754314"/>
            <a:ext cx="1639888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reeform 2"/>
          <p:cNvSpPr/>
          <p:nvPr/>
        </p:nvSpPr>
        <p:spPr>
          <a:xfrm>
            <a:off x="1528172" y="1159852"/>
            <a:ext cx="8387513" cy="4249057"/>
          </a:xfrm>
          <a:custGeom>
            <a:avLst/>
            <a:gdLst>
              <a:gd name="connsiteX0" fmla="*/ 0 w 8387513"/>
              <a:gd name="connsiteY0" fmla="*/ 4249057 h 4249057"/>
              <a:gd name="connsiteX1" fmla="*/ 8353586 w 8387513"/>
              <a:gd name="connsiteY1" fmla="*/ 173003 h 4249057"/>
              <a:gd name="connsiteX2" fmla="*/ 2960176 w 8387513"/>
              <a:gd name="connsiteY2" fmla="*/ 761939 h 4249057"/>
              <a:gd name="connsiteX3" fmla="*/ 3254644 w 8387513"/>
              <a:gd name="connsiteY3" fmla="*/ 831681 h 4249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87513" h="4249057">
                <a:moveTo>
                  <a:pt x="0" y="4249057"/>
                </a:moveTo>
                <a:cubicBezTo>
                  <a:pt x="3930111" y="2501623"/>
                  <a:pt x="7860223" y="754189"/>
                  <a:pt x="8353586" y="173003"/>
                </a:cubicBezTo>
                <a:cubicBezTo>
                  <a:pt x="8846949" y="-408183"/>
                  <a:pt x="3810000" y="652159"/>
                  <a:pt x="2960176" y="761939"/>
                </a:cubicBezTo>
                <a:cubicBezTo>
                  <a:pt x="2110352" y="871719"/>
                  <a:pt x="2682498" y="851700"/>
                  <a:pt x="3254644" y="831681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38"/>
          <p:cNvSpPr/>
          <p:nvPr/>
        </p:nvSpPr>
        <p:spPr>
          <a:xfrm>
            <a:off x="1857666" y="2008973"/>
            <a:ext cx="6337271" cy="3074991"/>
          </a:xfrm>
          <a:custGeom>
            <a:avLst/>
            <a:gdLst>
              <a:gd name="connsiteX0" fmla="*/ 0 w 8191500"/>
              <a:gd name="connsiteY0" fmla="*/ 4714875 h 4724400"/>
              <a:gd name="connsiteX1" fmla="*/ 104775 w 8191500"/>
              <a:gd name="connsiteY1" fmla="*/ 4724400 h 4724400"/>
              <a:gd name="connsiteX2" fmla="*/ 2400300 w 8191500"/>
              <a:gd name="connsiteY2" fmla="*/ 4619625 h 4724400"/>
              <a:gd name="connsiteX3" fmla="*/ 5076825 w 8191500"/>
              <a:gd name="connsiteY3" fmla="*/ 4000500 h 4724400"/>
              <a:gd name="connsiteX4" fmla="*/ 6610350 w 8191500"/>
              <a:gd name="connsiteY4" fmla="*/ 3162300 h 4724400"/>
              <a:gd name="connsiteX5" fmla="*/ 7572375 w 8191500"/>
              <a:gd name="connsiteY5" fmla="*/ 1952625 h 4724400"/>
              <a:gd name="connsiteX6" fmla="*/ 8191500 w 8191500"/>
              <a:gd name="connsiteY6" fmla="*/ 0 h 4724400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610350 w 8191500"/>
              <a:gd name="connsiteY4" fmla="*/ 3162300 h 4739204"/>
              <a:gd name="connsiteX5" fmla="*/ 7572375 w 8191500"/>
              <a:gd name="connsiteY5" fmla="*/ 1952625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572375 w 8191500"/>
              <a:gd name="connsiteY5" fmla="*/ 1952625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255467 w 8191500"/>
              <a:gd name="connsiteY5" fmla="*/ 1530349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354502 w 8191500"/>
              <a:gd name="connsiteY5" fmla="*/ 1578608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354502 w 8191500"/>
              <a:gd name="connsiteY5" fmla="*/ 1578608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443633 w 8191500"/>
              <a:gd name="connsiteY5" fmla="*/ 1699259 h 4739204"/>
              <a:gd name="connsiteX6" fmla="*/ 8191500 w 8191500"/>
              <a:gd name="connsiteY6" fmla="*/ 0 h 4739204"/>
              <a:gd name="connsiteX0" fmla="*/ 0 w 8191500"/>
              <a:gd name="connsiteY0" fmla="*/ 4714875 h 4739204"/>
              <a:gd name="connsiteX1" fmla="*/ 104775 w 8191500"/>
              <a:gd name="connsiteY1" fmla="*/ 4724400 h 4739204"/>
              <a:gd name="connsiteX2" fmla="*/ 2400300 w 8191500"/>
              <a:gd name="connsiteY2" fmla="*/ 4619625 h 4739204"/>
              <a:gd name="connsiteX3" fmla="*/ 4957984 w 8191500"/>
              <a:gd name="connsiteY3" fmla="*/ 3554094 h 4739204"/>
              <a:gd name="connsiteX4" fmla="*/ 6441992 w 8191500"/>
              <a:gd name="connsiteY4" fmla="*/ 2559048 h 4739204"/>
              <a:gd name="connsiteX5" fmla="*/ 7443633 w 8191500"/>
              <a:gd name="connsiteY5" fmla="*/ 1699259 h 4739204"/>
              <a:gd name="connsiteX6" fmla="*/ 8191500 w 8191500"/>
              <a:gd name="connsiteY6" fmla="*/ 0 h 4739204"/>
              <a:gd name="connsiteX0" fmla="*/ 796436 w 8086725"/>
              <a:gd name="connsiteY0" fmla="*/ 4739004 h 4739204"/>
              <a:gd name="connsiteX1" fmla="*/ 0 w 8086725"/>
              <a:gd name="connsiteY1" fmla="*/ 4724400 h 4739204"/>
              <a:gd name="connsiteX2" fmla="*/ 2295525 w 8086725"/>
              <a:gd name="connsiteY2" fmla="*/ 4619625 h 4739204"/>
              <a:gd name="connsiteX3" fmla="*/ 4853209 w 8086725"/>
              <a:gd name="connsiteY3" fmla="*/ 3554094 h 4739204"/>
              <a:gd name="connsiteX4" fmla="*/ 6337217 w 8086725"/>
              <a:gd name="connsiteY4" fmla="*/ 2559048 h 4739204"/>
              <a:gd name="connsiteX5" fmla="*/ 7338858 w 8086725"/>
              <a:gd name="connsiteY5" fmla="*/ 1699259 h 4739204"/>
              <a:gd name="connsiteX6" fmla="*/ 8086725 w 8086725"/>
              <a:gd name="connsiteY6" fmla="*/ 0 h 4739204"/>
              <a:gd name="connsiteX0" fmla="*/ 796436 w 8086725"/>
              <a:gd name="connsiteY0" fmla="*/ 4739004 h 4739204"/>
              <a:gd name="connsiteX1" fmla="*/ 0 w 8086725"/>
              <a:gd name="connsiteY1" fmla="*/ 4724400 h 4739204"/>
              <a:gd name="connsiteX2" fmla="*/ 2295525 w 8086725"/>
              <a:gd name="connsiteY2" fmla="*/ 4619625 h 4739204"/>
              <a:gd name="connsiteX3" fmla="*/ 4853209 w 8086725"/>
              <a:gd name="connsiteY3" fmla="*/ 3554094 h 4739204"/>
              <a:gd name="connsiteX4" fmla="*/ 6337217 w 8086725"/>
              <a:gd name="connsiteY4" fmla="*/ 2559048 h 4739204"/>
              <a:gd name="connsiteX5" fmla="*/ 7244205 w 8086725"/>
              <a:gd name="connsiteY5" fmla="*/ 1614540 h 4739204"/>
              <a:gd name="connsiteX6" fmla="*/ 8086725 w 8086725"/>
              <a:gd name="connsiteY6" fmla="*/ 0 h 4739204"/>
              <a:gd name="connsiteX0" fmla="*/ 796436 w 8086725"/>
              <a:gd name="connsiteY0" fmla="*/ 4739004 h 4739204"/>
              <a:gd name="connsiteX1" fmla="*/ 0 w 8086725"/>
              <a:gd name="connsiteY1" fmla="*/ 4724400 h 4739204"/>
              <a:gd name="connsiteX2" fmla="*/ 2295525 w 8086725"/>
              <a:gd name="connsiteY2" fmla="*/ 4619625 h 4739204"/>
              <a:gd name="connsiteX3" fmla="*/ 4853209 w 8086725"/>
              <a:gd name="connsiteY3" fmla="*/ 3554094 h 4739204"/>
              <a:gd name="connsiteX4" fmla="*/ 6105841 w 8086725"/>
              <a:gd name="connsiteY4" fmla="*/ 2559048 h 4739204"/>
              <a:gd name="connsiteX5" fmla="*/ 7244205 w 8086725"/>
              <a:gd name="connsiteY5" fmla="*/ 1614540 h 4739204"/>
              <a:gd name="connsiteX6" fmla="*/ 8086725 w 8086725"/>
              <a:gd name="connsiteY6" fmla="*/ 0 h 4739204"/>
              <a:gd name="connsiteX0" fmla="*/ 796436 w 8086725"/>
              <a:gd name="connsiteY0" fmla="*/ 4739004 h 4739204"/>
              <a:gd name="connsiteX1" fmla="*/ 0 w 8086725"/>
              <a:gd name="connsiteY1" fmla="*/ 4724400 h 4739204"/>
              <a:gd name="connsiteX2" fmla="*/ 2295525 w 8086725"/>
              <a:gd name="connsiteY2" fmla="*/ 4619625 h 4739204"/>
              <a:gd name="connsiteX3" fmla="*/ 4853209 w 8086725"/>
              <a:gd name="connsiteY3" fmla="*/ 3554094 h 4739204"/>
              <a:gd name="connsiteX4" fmla="*/ 6105841 w 8086725"/>
              <a:gd name="connsiteY4" fmla="*/ 2559048 h 4739204"/>
              <a:gd name="connsiteX5" fmla="*/ 7160069 w 8086725"/>
              <a:gd name="connsiteY5" fmla="*/ 1517717 h 4739204"/>
              <a:gd name="connsiteX6" fmla="*/ 8086725 w 8086725"/>
              <a:gd name="connsiteY6" fmla="*/ 0 h 4739204"/>
              <a:gd name="connsiteX0" fmla="*/ 796436 w 8086725"/>
              <a:gd name="connsiteY0" fmla="*/ 4739004 h 4739204"/>
              <a:gd name="connsiteX1" fmla="*/ 0 w 8086725"/>
              <a:gd name="connsiteY1" fmla="*/ 4724400 h 4739204"/>
              <a:gd name="connsiteX2" fmla="*/ 2295525 w 8086725"/>
              <a:gd name="connsiteY2" fmla="*/ 4619625 h 4739204"/>
              <a:gd name="connsiteX3" fmla="*/ 4853209 w 8086725"/>
              <a:gd name="connsiteY3" fmla="*/ 3554094 h 4739204"/>
              <a:gd name="connsiteX4" fmla="*/ 6105841 w 8086725"/>
              <a:gd name="connsiteY4" fmla="*/ 2559048 h 4739204"/>
              <a:gd name="connsiteX5" fmla="*/ 7160069 w 8086725"/>
              <a:gd name="connsiteY5" fmla="*/ 1517717 h 4739204"/>
              <a:gd name="connsiteX6" fmla="*/ 8086725 w 8086725"/>
              <a:gd name="connsiteY6" fmla="*/ 0 h 4739204"/>
              <a:gd name="connsiteX0" fmla="*/ 796436 w 7971037"/>
              <a:gd name="connsiteY0" fmla="*/ 4617975 h 4618175"/>
              <a:gd name="connsiteX1" fmla="*/ 0 w 7971037"/>
              <a:gd name="connsiteY1" fmla="*/ 4603371 h 4618175"/>
              <a:gd name="connsiteX2" fmla="*/ 2295525 w 7971037"/>
              <a:gd name="connsiteY2" fmla="*/ 4498596 h 4618175"/>
              <a:gd name="connsiteX3" fmla="*/ 4853209 w 7971037"/>
              <a:gd name="connsiteY3" fmla="*/ 3433065 h 4618175"/>
              <a:gd name="connsiteX4" fmla="*/ 6105841 w 7971037"/>
              <a:gd name="connsiteY4" fmla="*/ 2438019 h 4618175"/>
              <a:gd name="connsiteX5" fmla="*/ 7160069 w 7971037"/>
              <a:gd name="connsiteY5" fmla="*/ 1396688 h 4618175"/>
              <a:gd name="connsiteX6" fmla="*/ 7971037 w 7971037"/>
              <a:gd name="connsiteY6" fmla="*/ 0 h 4618175"/>
              <a:gd name="connsiteX0" fmla="*/ 796436 w 7971037"/>
              <a:gd name="connsiteY0" fmla="*/ 4617975 h 4618175"/>
              <a:gd name="connsiteX1" fmla="*/ 0 w 7971037"/>
              <a:gd name="connsiteY1" fmla="*/ 4603371 h 4618175"/>
              <a:gd name="connsiteX2" fmla="*/ 2295525 w 7971037"/>
              <a:gd name="connsiteY2" fmla="*/ 4498596 h 4618175"/>
              <a:gd name="connsiteX3" fmla="*/ 4853209 w 7971037"/>
              <a:gd name="connsiteY3" fmla="*/ 3433065 h 4618175"/>
              <a:gd name="connsiteX4" fmla="*/ 6105841 w 7971037"/>
              <a:gd name="connsiteY4" fmla="*/ 2438019 h 4618175"/>
              <a:gd name="connsiteX5" fmla="*/ 7160069 w 7971037"/>
              <a:gd name="connsiteY5" fmla="*/ 1396688 h 4618175"/>
              <a:gd name="connsiteX6" fmla="*/ 7971037 w 7971037"/>
              <a:gd name="connsiteY6" fmla="*/ 0 h 46181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7 w 7971037"/>
              <a:gd name="connsiteY3" fmla="*/ 3704775 h 4617975"/>
              <a:gd name="connsiteX4" fmla="*/ 4853209 w 7971037"/>
              <a:gd name="connsiteY4" fmla="*/ 3433065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7 w 7971037"/>
              <a:gd name="connsiteY3" fmla="*/ 3704775 h 4617975"/>
              <a:gd name="connsiteX4" fmla="*/ 4853209 w 7971037"/>
              <a:gd name="connsiteY4" fmla="*/ 3396756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7 w 7971037"/>
              <a:gd name="connsiteY3" fmla="*/ 3704775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7 w 7971037"/>
              <a:gd name="connsiteY3" fmla="*/ 3704775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7 w 7971037"/>
              <a:gd name="connsiteY3" fmla="*/ 3704775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8 w 7971037"/>
              <a:gd name="connsiteY3" fmla="*/ 3716878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8 w 7971037"/>
              <a:gd name="connsiteY3" fmla="*/ 3716878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796436 w 7971037"/>
              <a:gd name="connsiteY0" fmla="*/ 4617975 h 4617975"/>
              <a:gd name="connsiteX1" fmla="*/ 0 w 7971037"/>
              <a:gd name="connsiteY1" fmla="*/ 4603371 h 4617975"/>
              <a:gd name="connsiteX2" fmla="*/ 2295525 w 7971037"/>
              <a:gd name="connsiteY2" fmla="*/ 4498596 h 4617975"/>
              <a:gd name="connsiteX3" fmla="*/ 4358968 w 7971037"/>
              <a:gd name="connsiteY3" fmla="*/ 3716878 h 4617975"/>
              <a:gd name="connsiteX4" fmla="*/ 4884760 w 7971037"/>
              <a:gd name="connsiteY4" fmla="*/ 3445168 h 4617975"/>
              <a:gd name="connsiteX5" fmla="*/ 6105841 w 7971037"/>
              <a:gd name="connsiteY5" fmla="*/ 2438019 h 4617975"/>
              <a:gd name="connsiteX6" fmla="*/ 7160069 w 7971037"/>
              <a:gd name="connsiteY6" fmla="*/ 1396688 h 4617975"/>
              <a:gd name="connsiteX7" fmla="*/ 7971037 w 7971037"/>
              <a:gd name="connsiteY7" fmla="*/ 0 h 4617975"/>
              <a:gd name="connsiteX0" fmla="*/ 586095 w 7760696"/>
              <a:gd name="connsiteY0" fmla="*/ 4617975 h 4639680"/>
              <a:gd name="connsiteX1" fmla="*/ 0 w 7760696"/>
              <a:gd name="connsiteY1" fmla="*/ 4639680 h 4639680"/>
              <a:gd name="connsiteX2" fmla="*/ 2085184 w 7760696"/>
              <a:gd name="connsiteY2" fmla="*/ 4498596 h 4639680"/>
              <a:gd name="connsiteX3" fmla="*/ 4148627 w 7760696"/>
              <a:gd name="connsiteY3" fmla="*/ 3716878 h 4639680"/>
              <a:gd name="connsiteX4" fmla="*/ 4674419 w 7760696"/>
              <a:gd name="connsiteY4" fmla="*/ 3445168 h 4639680"/>
              <a:gd name="connsiteX5" fmla="*/ 5895500 w 7760696"/>
              <a:gd name="connsiteY5" fmla="*/ 2438019 h 4639680"/>
              <a:gd name="connsiteX6" fmla="*/ 6949728 w 7760696"/>
              <a:gd name="connsiteY6" fmla="*/ 1396688 h 4639680"/>
              <a:gd name="connsiteX7" fmla="*/ 7760696 w 7760696"/>
              <a:gd name="connsiteY7" fmla="*/ 0 h 4639680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85184 w 7539838"/>
              <a:gd name="connsiteY2" fmla="*/ 4559110 h 4700194"/>
              <a:gd name="connsiteX3" fmla="*/ 4148627 w 7539838"/>
              <a:gd name="connsiteY3" fmla="*/ 3777392 h 4700194"/>
              <a:gd name="connsiteX4" fmla="*/ 4674419 w 7539838"/>
              <a:gd name="connsiteY4" fmla="*/ 3505682 h 4700194"/>
              <a:gd name="connsiteX5" fmla="*/ 5895500 w 7539838"/>
              <a:gd name="connsiteY5" fmla="*/ 2498533 h 4700194"/>
              <a:gd name="connsiteX6" fmla="*/ 6949728 w 7539838"/>
              <a:gd name="connsiteY6" fmla="*/ 1457202 h 4700194"/>
              <a:gd name="connsiteX7" fmla="*/ 7539838 w 7539838"/>
              <a:gd name="connsiteY7" fmla="*/ 0 h 4700194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85184 w 7539838"/>
              <a:gd name="connsiteY2" fmla="*/ 4559110 h 4700194"/>
              <a:gd name="connsiteX3" fmla="*/ 4148627 w 7539838"/>
              <a:gd name="connsiteY3" fmla="*/ 3777392 h 4700194"/>
              <a:gd name="connsiteX4" fmla="*/ 4674419 w 7539838"/>
              <a:gd name="connsiteY4" fmla="*/ 3505682 h 4700194"/>
              <a:gd name="connsiteX5" fmla="*/ 5895500 w 7539838"/>
              <a:gd name="connsiteY5" fmla="*/ 2498533 h 4700194"/>
              <a:gd name="connsiteX6" fmla="*/ 6865591 w 7539838"/>
              <a:gd name="connsiteY6" fmla="*/ 1420894 h 4700194"/>
              <a:gd name="connsiteX7" fmla="*/ 7539838 w 7539838"/>
              <a:gd name="connsiteY7" fmla="*/ 0 h 4700194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85184 w 7539838"/>
              <a:gd name="connsiteY2" fmla="*/ 4559110 h 4700194"/>
              <a:gd name="connsiteX3" fmla="*/ 4148627 w 7539838"/>
              <a:gd name="connsiteY3" fmla="*/ 3777392 h 4700194"/>
              <a:gd name="connsiteX4" fmla="*/ 4674419 w 7539838"/>
              <a:gd name="connsiteY4" fmla="*/ 3505682 h 4700194"/>
              <a:gd name="connsiteX5" fmla="*/ 5874465 w 7539838"/>
              <a:gd name="connsiteY5" fmla="*/ 2438020 h 4700194"/>
              <a:gd name="connsiteX6" fmla="*/ 6865591 w 7539838"/>
              <a:gd name="connsiteY6" fmla="*/ 1420894 h 4700194"/>
              <a:gd name="connsiteX7" fmla="*/ 7539838 w 7539838"/>
              <a:gd name="connsiteY7" fmla="*/ 0 h 4700194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85184 w 7539838"/>
              <a:gd name="connsiteY2" fmla="*/ 4559110 h 4700194"/>
              <a:gd name="connsiteX3" fmla="*/ 4148627 w 7539838"/>
              <a:gd name="connsiteY3" fmla="*/ 3777392 h 4700194"/>
              <a:gd name="connsiteX4" fmla="*/ 4642868 w 7539838"/>
              <a:gd name="connsiteY4" fmla="*/ 3420962 h 4700194"/>
              <a:gd name="connsiteX5" fmla="*/ 5874465 w 7539838"/>
              <a:gd name="connsiteY5" fmla="*/ 2438020 h 4700194"/>
              <a:gd name="connsiteX6" fmla="*/ 6865591 w 7539838"/>
              <a:gd name="connsiteY6" fmla="*/ 1420894 h 4700194"/>
              <a:gd name="connsiteX7" fmla="*/ 7539838 w 7539838"/>
              <a:gd name="connsiteY7" fmla="*/ 0 h 4700194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85184 w 7539838"/>
              <a:gd name="connsiteY2" fmla="*/ 4559110 h 4700194"/>
              <a:gd name="connsiteX3" fmla="*/ 4138109 w 7539838"/>
              <a:gd name="connsiteY3" fmla="*/ 3741084 h 4700194"/>
              <a:gd name="connsiteX4" fmla="*/ 4642868 w 7539838"/>
              <a:gd name="connsiteY4" fmla="*/ 3420962 h 4700194"/>
              <a:gd name="connsiteX5" fmla="*/ 5874465 w 7539838"/>
              <a:gd name="connsiteY5" fmla="*/ 2438020 h 4700194"/>
              <a:gd name="connsiteX6" fmla="*/ 6865591 w 7539838"/>
              <a:gd name="connsiteY6" fmla="*/ 1420894 h 4700194"/>
              <a:gd name="connsiteX7" fmla="*/ 7539838 w 7539838"/>
              <a:gd name="connsiteY7" fmla="*/ 0 h 4700194"/>
              <a:gd name="connsiteX0" fmla="*/ 586095 w 7539838"/>
              <a:gd name="connsiteY0" fmla="*/ 4678489 h 4700194"/>
              <a:gd name="connsiteX1" fmla="*/ 0 w 7539838"/>
              <a:gd name="connsiteY1" fmla="*/ 4700194 h 4700194"/>
              <a:gd name="connsiteX2" fmla="*/ 2095701 w 7539838"/>
              <a:gd name="connsiteY2" fmla="*/ 4510699 h 4700194"/>
              <a:gd name="connsiteX3" fmla="*/ 4138109 w 7539838"/>
              <a:gd name="connsiteY3" fmla="*/ 3741084 h 4700194"/>
              <a:gd name="connsiteX4" fmla="*/ 4642868 w 7539838"/>
              <a:gd name="connsiteY4" fmla="*/ 3420962 h 4700194"/>
              <a:gd name="connsiteX5" fmla="*/ 5874465 w 7539838"/>
              <a:gd name="connsiteY5" fmla="*/ 2438020 h 4700194"/>
              <a:gd name="connsiteX6" fmla="*/ 6865591 w 7539838"/>
              <a:gd name="connsiteY6" fmla="*/ 1420894 h 4700194"/>
              <a:gd name="connsiteX7" fmla="*/ 7539838 w 7539838"/>
              <a:gd name="connsiteY7" fmla="*/ 0 h 4700194"/>
              <a:gd name="connsiteX0" fmla="*/ 586095 w 7361047"/>
              <a:gd name="connsiteY0" fmla="*/ 4678489 h 4700194"/>
              <a:gd name="connsiteX1" fmla="*/ 0 w 7361047"/>
              <a:gd name="connsiteY1" fmla="*/ 4700194 h 4700194"/>
              <a:gd name="connsiteX2" fmla="*/ 2095701 w 7361047"/>
              <a:gd name="connsiteY2" fmla="*/ 4510699 h 4700194"/>
              <a:gd name="connsiteX3" fmla="*/ 4138109 w 7361047"/>
              <a:gd name="connsiteY3" fmla="*/ 3741084 h 4700194"/>
              <a:gd name="connsiteX4" fmla="*/ 4642868 w 7361047"/>
              <a:gd name="connsiteY4" fmla="*/ 3420962 h 4700194"/>
              <a:gd name="connsiteX5" fmla="*/ 5874465 w 7361047"/>
              <a:gd name="connsiteY5" fmla="*/ 2438020 h 4700194"/>
              <a:gd name="connsiteX6" fmla="*/ 6865591 w 7361047"/>
              <a:gd name="connsiteY6" fmla="*/ 1420894 h 4700194"/>
              <a:gd name="connsiteX7" fmla="*/ 7361047 w 7361047"/>
              <a:gd name="connsiteY7" fmla="*/ 0 h 4700194"/>
              <a:gd name="connsiteX0" fmla="*/ 586095 w 7361047"/>
              <a:gd name="connsiteY0" fmla="*/ 4678489 h 4700194"/>
              <a:gd name="connsiteX1" fmla="*/ 0 w 7361047"/>
              <a:gd name="connsiteY1" fmla="*/ 4700194 h 4700194"/>
              <a:gd name="connsiteX2" fmla="*/ 2095701 w 7361047"/>
              <a:gd name="connsiteY2" fmla="*/ 4510699 h 4700194"/>
              <a:gd name="connsiteX3" fmla="*/ 4138109 w 7361047"/>
              <a:gd name="connsiteY3" fmla="*/ 3741084 h 4700194"/>
              <a:gd name="connsiteX4" fmla="*/ 4642868 w 7361047"/>
              <a:gd name="connsiteY4" fmla="*/ 3420962 h 4700194"/>
              <a:gd name="connsiteX5" fmla="*/ 5874465 w 7361047"/>
              <a:gd name="connsiteY5" fmla="*/ 2438020 h 4700194"/>
              <a:gd name="connsiteX6" fmla="*/ 6865591 w 7361047"/>
              <a:gd name="connsiteY6" fmla="*/ 1420894 h 4700194"/>
              <a:gd name="connsiteX7" fmla="*/ 7361047 w 7361047"/>
              <a:gd name="connsiteY7" fmla="*/ 0 h 4700194"/>
              <a:gd name="connsiteX0" fmla="*/ 586095 w 7361047"/>
              <a:gd name="connsiteY0" fmla="*/ 4678489 h 4700194"/>
              <a:gd name="connsiteX1" fmla="*/ 0 w 7361047"/>
              <a:gd name="connsiteY1" fmla="*/ 4700194 h 4700194"/>
              <a:gd name="connsiteX2" fmla="*/ 2095701 w 7361047"/>
              <a:gd name="connsiteY2" fmla="*/ 4510699 h 4700194"/>
              <a:gd name="connsiteX3" fmla="*/ 4138109 w 7361047"/>
              <a:gd name="connsiteY3" fmla="*/ 3741084 h 4700194"/>
              <a:gd name="connsiteX4" fmla="*/ 4642868 w 7361047"/>
              <a:gd name="connsiteY4" fmla="*/ 3420962 h 4700194"/>
              <a:gd name="connsiteX5" fmla="*/ 5874465 w 7361047"/>
              <a:gd name="connsiteY5" fmla="*/ 2438020 h 4700194"/>
              <a:gd name="connsiteX6" fmla="*/ 6718353 w 7361047"/>
              <a:gd name="connsiteY6" fmla="*/ 1432997 h 4700194"/>
              <a:gd name="connsiteX7" fmla="*/ 7361047 w 7361047"/>
              <a:gd name="connsiteY7" fmla="*/ 0 h 4700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61047" h="4700194">
                <a:moveTo>
                  <a:pt x="586095" y="4678489"/>
                </a:moveTo>
                <a:lnTo>
                  <a:pt x="0" y="4700194"/>
                </a:lnTo>
                <a:cubicBezTo>
                  <a:pt x="400050" y="4684319"/>
                  <a:pt x="1406016" y="4670551"/>
                  <a:pt x="2095701" y="4510699"/>
                </a:cubicBezTo>
                <a:cubicBezTo>
                  <a:pt x="2785386" y="4350847"/>
                  <a:pt x="3711828" y="3918672"/>
                  <a:pt x="4138109" y="3741084"/>
                </a:cubicBezTo>
                <a:cubicBezTo>
                  <a:pt x="4574906" y="3502981"/>
                  <a:pt x="4353475" y="3638139"/>
                  <a:pt x="4642868" y="3420962"/>
                </a:cubicBezTo>
                <a:cubicBezTo>
                  <a:pt x="4932261" y="3203785"/>
                  <a:pt x="5528551" y="2769348"/>
                  <a:pt x="5874465" y="2438020"/>
                </a:cubicBezTo>
                <a:cubicBezTo>
                  <a:pt x="6220379" y="2106693"/>
                  <a:pt x="6412760" y="1827181"/>
                  <a:pt x="6718353" y="1432997"/>
                </a:cubicBezTo>
                <a:cubicBezTo>
                  <a:pt x="7051202" y="905948"/>
                  <a:pt x="7130662" y="700684"/>
                  <a:pt x="7361047" y="0"/>
                </a:cubicBezTo>
              </a:path>
            </a:pathLst>
          </a:custGeom>
          <a:noFill/>
          <a:ln w="79375" cap="sq" cmpd="sng">
            <a:solidFill>
              <a:srgbClr val="41719C"/>
            </a:solidFill>
            <a:round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994012" y="4653322"/>
            <a:ext cx="1172649" cy="276999"/>
          </a:xfrm>
          <a:prstGeom prst="rect">
            <a:avLst/>
          </a:prstGeom>
          <a:solidFill>
            <a:srgbClr val="009ADD"/>
          </a:solidFill>
        </p:spPr>
        <p:txBody>
          <a:bodyPr wrap="square" lIns="0" tIns="0" rIns="0" bIns="0" rtlCol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00+ Mbp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014651" y="3427063"/>
            <a:ext cx="1879031" cy="830997"/>
          </a:xfrm>
          <a:prstGeom prst="rect">
            <a:avLst/>
          </a:prstGeom>
          <a:solidFill>
            <a:srgbClr val="009AD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0+ Mbps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w/Interference Mitigation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51433" y="1593320"/>
            <a:ext cx="2242144" cy="830997"/>
          </a:xfrm>
          <a:prstGeom prst="rect">
            <a:avLst/>
          </a:prstGeom>
          <a:solidFill>
            <a:srgbClr val="009ADD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&gt;1 </a:t>
            </a:r>
            <a:r>
              <a:rPr lang="en-US" dirty="0" err="1">
                <a:solidFill>
                  <a:schemeClr val="bg1"/>
                </a:solidFill>
              </a:rPr>
              <a:t>Gbps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r>
              <a:rPr lang="en-US" dirty="0">
                <a:solidFill>
                  <a:schemeClr val="bg1"/>
                </a:solidFill>
              </a:rPr>
              <a:t>w/ 4X4 MU-MIMO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256 QAM/80 MHz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623028" y="2102605"/>
            <a:ext cx="2373711" cy="104644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802.11ax 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8x8  MU-MIMO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OFDMA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Multi Gigabit PMP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Gigabit PTP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84" y="9945"/>
            <a:ext cx="9545444" cy="1097279"/>
          </a:xfrm>
        </p:spPr>
        <p:txBody>
          <a:bodyPr/>
          <a:lstStyle/>
          <a:p>
            <a:r>
              <a:rPr lang="en-US" dirty="0" err="1"/>
              <a:t>ePMP</a:t>
            </a:r>
            <a:r>
              <a:rPr lang="en-US" dirty="0"/>
              <a:t> Evolution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8198442" y="810429"/>
            <a:ext cx="3701124" cy="1143790"/>
            <a:chOff x="8198442" y="810429"/>
            <a:chExt cx="3701124" cy="1143790"/>
          </a:xfrm>
        </p:grpSpPr>
        <p:sp>
          <p:nvSpPr>
            <p:cNvPr id="35" name="Freeform 34"/>
            <p:cNvSpPr/>
            <p:nvPr/>
          </p:nvSpPr>
          <p:spPr>
            <a:xfrm rot="10553180">
              <a:off x="8198442" y="1282070"/>
              <a:ext cx="2104231" cy="672149"/>
            </a:xfrm>
            <a:custGeom>
              <a:avLst/>
              <a:gdLst>
                <a:gd name="connsiteX0" fmla="*/ 0 w 8191500"/>
                <a:gd name="connsiteY0" fmla="*/ 4714875 h 4724400"/>
                <a:gd name="connsiteX1" fmla="*/ 104775 w 8191500"/>
                <a:gd name="connsiteY1" fmla="*/ 4724400 h 4724400"/>
                <a:gd name="connsiteX2" fmla="*/ 2400300 w 8191500"/>
                <a:gd name="connsiteY2" fmla="*/ 4619625 h 4724400"/>
                <a:gd name="connsiteX3" fmla="*/ 5076825 w 8191500"/>
                <a:gd name="connsiteY3" fmla="*/ 4000500 h 4724400"/>
                <a:gd name="connsiteX4" fmla="*/ 6610350 w 8191500"/>
                <a:gd name="connsiteY4" fmla="*/ 3162300 h 4724400"/>
                <a:gd name="connsiteX5" fmla="*/ 7572375 w 8191500"/>
                <a:gd name="connsiteY5" fmla="*/ 1952625 h 4724400"/>
                <a:gd name="connsiteX6" fmla="*/ 8191500 w 8191500"/>
                <a:gd name="connsiteY6" fmla="*/ 0 h 4724400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610350 w 8191500"/>
                <a:gd name="connsiteY4" fmla="*/ 3162300 h 4739204"/>
                <a:gd name="connsiteX5" fmla="*/ 7572375 w 8191500"/>
                <a:gd name="connsiteY5" fmla="*/ 1952625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572375 w 8191500"/>
                <a:gd name="connsiteY5" fmla="*/ 1952625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255467 w 8191500"/>
                <a:gd name="connsiteY5" fmla="*/ 1530349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354502 w 8191500"/>
                <a:gd name="connsiteY5" fmla="*/ 1578608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354502 w 8191500"/>
                <a:gd name="connsiteY5" fmla="*/ 1578608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443633 w 8191500"/>
                <a:gd name="connsiteY5" fmla="*/ 1699259 h 4739204"/>
                <a:gd name="connsiteX6" fmla="*/ 8191500 w 8191500"/>
                <a:gd name="connsiteY6" fmla="*/ 0 h 4739204"/>
                <a:gd name="connsiteX0" fmla="*/ 0 w 8191500"/>
                <a:gd name="connsiteY0" fmla="*/ 4714875 h 4739204"/>
                <a:gd name="connsiteX1" fmla="*/ 104775 w 8191500"/>
                <a:gd name="connsiteY1" fmla="*/ 4724400 h 4739204"/>
                <a:gd name="connsiteX2" fmla="*/ 2400300 w 8191500"/>
                <a:gd name="connsiteY2" fmla="*/ 4619625 h 4739204"/>
                <a:gd name="connsiteX3" fmla="*/ 4957984 w 8191500"/>
                <a:gd name="connsiteY3" fmla="*/ 3554094 h 4739204"/>
                <a:gd name="connsiteX4" fmla="*/ 6441992 w 8191500"/>
                <a:gd name="connsiteY4" fmla="*/ 2559048 h 4739204"/>
                <a:gd name="connsiteX5" fmla="*/ 7443633 w 8191500"/>
                <a:gd name="connsiteY5" fmla="*/ 1699259 h 4739204"/>
                <a:gd name="connsiteX6" fmla="*/ 8191500 w 8191500"/>
                <a:gd name="connsiteY6" fmla="*/ 0 h 4739204"/>
                <a:gd name="connsiteX0" fmla="*/ 796436 w 8086725"/>
                <a:gd name="connsiteY0" fmla="*/ 4739004 h 4739204"/>
                <a:gd name="connsiteX1" fmla="*/ 0 w 8086725"/>
                <a:gd name="connsiteY1" fmla="*/ 4724400 h 4739204"/>
                <a:gd name="connsiteX2" fmla="*/ 2295525 w 8086725"/>
                <a:gd name="connsiteY2" fmla="*/ 4619625 h 4739204"/>
                <a:gd name="connsiteX3" fmla="*/ 4853209 w 8086725"/>
                <a:gd name="connsiteY3" fmla="*/ 3554094 h 4739204"/>
                <a:gd name="connsiteX4" fmla="*/ 6337217 w 8086725"/>
                <a:gd name="connsiteY4" fmla="*/ 2559048 h 4739204"/>
                <a:gd name="connsiteX5" fmla="*/ 7338858 w 8086725"/>
                <a:gd name="connsiteY5" fmla="*/ 1699259 h 4739204"/>
                <a:gd name="connsiteX6" fmla="*/ 8086725 w 8086725"/>
                <a:gd name="connsiteY6" fmla="*/ 0 h 4739204"/>
                <a:gd name="connsiteX0" fmla="*/ 796436 w 8086725"/>
                <a:gd name="connsiteY0" fmla="*/ 4739004 h 4739204"/>
                <a:gd name="connsiteX1" fmla="*/ 0 w 8086725"/>
                <a:gd name="connsiteY1" fmla="*/ 4724400 h 4739204"/>
                <a:gd name="connsiteX2" fmla="*/ 2295525 w 8086725"/>
                <a:gd name="connsiteY2" fmla="*/ 4619625 h 4739204"/>
                <a:gd name="connsiteX3" fmla="*/ 4853209 w 8086725"/>
                <a:gd name="connsiteY3" fmla="*/ 3554094 h 4739204"/>
                <a:gd name="connsiteX4" fmla="*/ 6337217 w 8086725"/>
                <a:gd name="connsiteY4" fmla="*/ 2559048 h 4739204"/>
                <a:gd name="connsiteX5" fmla="*/ 7244205 w 8086725"/>
                <a:gd name="connsiteY5" fmla="*/ 1614540 h 4739204"/>
                <a:gd name="connsiteX6" fmla="*/ 8086725 w 8086725"/>
                <a:gd name="connsiteY6" fmla="*/ 0 h 4739204"/>
                <a:gd name="connsiteX0" fmla="*/ 796436 w 8086725"/>
                <a:gd name="connsiteY0" fmla="*/ 4739004 h 4739204"/>
                <a:gd name="connsiteX1" fmla="*/ 0 w 8086725"/>
                <a:gd name="connsiteY1" fmla="*/ 4724400 h 4739204"/>
                <a:gd name="connsiteX2" fmla="*/ 2295525 w 8086725"/>
                <a:gd name="connsiteY2" fmla="*/ 4619625 h 4739204"/>
                <a:gd name="connsiteX3" fmla="*/ 4853209 w 8086725"/>
                <a:gd name="connsiteY3" fmla="*/ 3554094 h 4739204"/>
                <a:gd name="connsiteX4" fmla="*/ 6105841 w 8086725"/>
                <a:gd name="connsiteY4" fmla="*/ 2559048 h 4739204"/>
                <a:gd name="connsiteX5" fmla="*/ 7244205 w 8086725"/>
                <a:gd name="connsiteY5" fmla="*/ 1614540 h 4739204"/>
                <a:gd name="connsiteX6" fmla="*/ 8086725 w 8086725"/>
                <a:gd name="connsiteY6" fmla="*/ 0 h 4739204"/>
                <a:gd name="connsiteX0" fmla="*/ 796436 w 8086725"/>
                <a:gd name="connsiteY0" fmla="*/ 4739004 h 4739204"/>
                <a:gd name="connsiteX1" fmla="*/ 0 w 8086725"/>
                <a:gd name="connsiteY1" fmla="*/ 4724400 h 4739204"/>
                <a:gd name="connsiteX2" fmla="*/ 2295525 w 8086725"/>
                <a:gd name="connsiteY2" fmla="*/ 4619625 h 4739204"/>
                <a:gd name="connsiteX3" fmla="*/ 4853209 w 8086725"/>
                <a:gd name="connsiteY3" fmla="*/ 3554094 h 4739204"/>
                <a:gd name="connsiteX4" fmla="*/ 6105841 w 8086725"/>
                <a:gd name="connsiteY4" fmla="*/ 2559048 h 4739204"/>
                <a:gd name="connsiteX5" fmla="*/ 7160069 w 8086725"/>
                <a:gd name="connsiteY5" fmla="*/ 1517717 h 4739204"/>
                <a:gd name="connsiteX6" fmla="*/ 8086725 w 8086725"/>
                <a:gd name="connsiteY6" fmla="*/ 0 h 4739204"/>
                <a:gd name="connsiteX0" fmla="*/ 796436 w 8086725"/>
                <a:gd name="connsiteY0" fmla="*/ 4739004 h 4739204"/>
                <a:gd name="connsiteX1" fmla="*/ 0 w 8086725"/>
                <a:gd name="connsiteY1" fmla="*/ 4724400 h 4739204"/>
                <a:gd name="connsiteX2" fmla="*/ 2295525 w 8086725"/>
                <a:gd name="connsiteY2" fmla="*/ 4619625 h 4739204"/>
                <a:gd name="connsiteX3" fmla="*/ 4853209 w 8086725"/>
                <a:gd name="connsiteY3" fmla="*/ 3554094 h 4739204"/>
                <a:gd name="connsiteX4" fmla="*/ 6105841 w 8086725"/>
                <a:gd name="connsiteY4" fmla="*/ 2559048 h 4739204"/>
                <a:gd name="connsiteX5" fmla="*/ 7160069 w 8086725"/>
                <a:gd name="connsiteY5" fmla="*/ 1517717 h 4739204"/>
                <a:gd name="connsiteX6" fmla="*/ 8086725 w 8086725"/>
                <a:gd name="connsiteY6" fmla="*/ 0 h 4739204"/>
                <a:gd name="connsiteX0" fmla="*/ 796436 w 7971037"/>
                <a:gd name="connsiteY0" fmla="*/ 4617975 h 4618175"/>
                <a:gd name="connsiteX1" fmla="*/ 0 w 7971037"/>
                <a:gd name="connsiteY1" fmla="*/ 4603371 h 4618175"/>
                <a:gd name="connsiteX2" fmla="*/ 2295525 w 7971037"/>
                <a:gd name="connsiteY2" fmla="*/ 4498596 h 4618175"/>
                <a:gd name="connsiteX3" fmla="*/ 4853209 w 7971037"/>
                <a:gd name="connsiteY3" fmla="*/ 3433065 h 4618175"/>
                <a:gd name="connsiteX4" fmla="*/ 6105841 w 7971037"/>
                <a:gd name="connsiteY4" fmla="*/ 2438019 h 4618175"/>
                <a:gd name="connsiteX5" fmla="*/ 7160069 w 7971037"/>
                <a:gd name="connsiteY5" fmla="*/ 1396688 h 4618175"/>
                <a:gd name="connsiteX6" fmla="*/ 7971037 w 7971037"/>
                <a:gd name="connsiteY6" fmla="*/ 0 h 4618175"/>
                <a:gd name="connsiteX0" fmla="*/ 796436 w 7971037"/>
                <a:gd name="connsiteY0" fmla="*/ 4617975 h 4618175"/>
                <a:gd name="connsiteX1" fmla="*/ 0 w 7971037"/>
                <a:gd name="connsiteY1" fmla="*/ 4603371 h 4618175"/>
                <a:gd name="connsiteX2" fmla="*/ 2295525 w 7971037"/>
                <a:gd name="connsiteY2" fmla="*/ 4498596 h 4618175"/>
                <a:gd name="connsiteX3" fmla="*/ 4853209 w 7971037"/>
                <a:gd name="connsiteY3" fmla="*/ 3433065 h 4618175"/>
                <a:gd name="connsiteX4" fmla="*/ 6105841 w 7971037"/>
                <a:gd name="connsiteY4" fmla="*/ 2438019 h 4618175"/>
                <a:gd name="connsiteX5" fmla="*/ 7160069 w 7971037"/>
                <a:gd name="connsiteY5" fmla="*/ 1396688 h 4618175"/>
                <a:gd name="connsiteX6" fmla="*/ 7971037 w 7971037"/>
                <a:gd name="connsiteY6" fmla="*/ 0 h 46181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7 w 7971037"/>
                <a:gd name="connsiteY3" fmla="*/ 3704775 h 4617975"/>
                <a:gd name="connsiteX4" fmla="*/ 4853209 w 7971037"/>
                <a:gd name="connsiteY4" fmla="*/ 3433065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7 w 7971037"/>
                <a:gd name="connsiteY3" fmla="*/ 3704775 h 4617975"/>
                <a:gd name="connsiteX4" fmla="*/ 4853209 w 7971037"/>
                <a:gd name="connsiteY4" fmla="*/ 3396756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7 w 7971037"/>
                <a:gd name="connsiteY3" fmla="*/ 3704775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7 w 7971037"/>
                <a:gd name="connsiteY3" fmla="*/ 3704775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7 w 7971037"/>
                <a:gd name="connsiteY3" fmla="*/ 3704775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8 w 7971037"/>
                <a:gd name="connsiteY3" fmla="*/ 3716878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8 w 7971037"/>
                <a:gd name="connsiteY3" fmla="*/ 3716878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796436 w 7971037"/>
                <a:gd name="connsiteY0" fmla="*/ 4617975 h 4617975"/>
                <a:gd name="connsiteX1" fmla="*/ 0 w 7971037"/>
                <a:gd name="connsiteY1" fmla="*/ 4603371 h 4617975"/>
                <a:gd name="connsiteX2" fmla="*/ 2295525 w 7971037"/>
                <a:gd name="connsiteY2" fmla="*/ 4498596 h 4617975"/>
                <a:gd name="connsiteX3" fmla="*/ 4358968 w 7971037"/>
                <a:gd name="connsiteY3" fmla="*/ 3716878 h 4617975"/>
                <a:gd name="connsiteX4" fmla="*/ 4884760 w 7971037"/>
                <a:gd name="connsiteY4" fmla="*/ 3445168 h 4617975"/>
                <a:gd name="connsiteX5" fmla="*/ 6105841 w 7971037"/>
                <a:gd name="connsiteY5" fmla="*/ 2438019 h 4617975"/>
                <a:gd name="connsiteX6" fmla="*/ 7160069 w 7971037"/>
                <a:gd name="connsiteY6" fmla="*/ 1396688 h 4617975"/>
                <a:gd name="connsiteX7" fmla="*/ 7971037 w 7971037"/>
                <a:gd name="connsiteY7" fmla="*/ 0 h 4617975"/>
                <a:gd name="connsiteX0" fmla="*/ 586095 w 7760696"/>
                <a:gd name="connsiteY0" fmla="*/ 4617975 h 4639680"/>
                <a:gd name="connsiteX1" fmla="*/ 0 w 7760696"/>
                <a:gd name="connsiteY1" fmla="*/ 4639680 h 4639680"/>
                <a:gd name="connsiteX2" fmla="*/ 2085184 w 7760696"/>
                <a:gd name="connsiteY2" fmla="*/ 4498596 h 4639680"/>
                <a:gd name="connsiteX3" fmla="*/ 4148627 w 7760696"/>
                <a:gd name="connsiteY3" fmla="*/ 3716878 h 4639680"/>
                <a:gd name="connsiteX4" fmla="*/ 4674419 w 7760696"/>
                <a:gd name="connsiteY4" fmla="*/ 3445168 h 4639680"/>
                <a:gd name="connsiteX5" fmla="*/ 5895500 w 7760696"/>
                <a:gd name="connsiteY5" fmla="*/ 2438019 h 4639680"/>
                <a:gd name="connsiteX6" fmla="*/ 6949728 w 7760696"/>
                <a:gd name="connsiteY6" fmla="*/ 1396688 h 4639680"/>
                <a:gd name="connsiteX7" fmla="*/ 7760696 w 7760696"/>
                <a:gd name="connsiteY7" fmla="*/ 0 h 4639680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85184 w 7539838"/>
                <a:gd name="connsiteY2" fmla="*/ 4559110 h 4700194"/>
                <a:gd name="connsiteX3" fmla="*/ 4148627 w 7539838"/>
                <a:gd name="connsiteY3" fmla="*/ 3777392 h 4700194"/>
                <a:gd name="connsiteX4" fmla="*/ 4674419 w 7539838"/>
                <a:gd name="connsiteY4" fmla="*/ 3505682 h 4700194"/>
                <a:gd name="connsiteX5" fmla="*/ 5895500 w 7539838"/>
                <a:gd name="connsiteY5" fmla="*/ 2498533 h 4700194"/>
                <a:gd name="connsiteX6" fmla="*/ 6949728 w 7539838"/>
                <a:gd name="connsiteY6" fmla="*/ 1457202 h 4700194"/>
                <a:gd name="connsiteX7" fmla="*/ 7539838 w 7539838"/>
                <a:gd name="connsiteY7" fmla="*/ 0 h 4700194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85184 w 7539838"/>
                <a:gd name="connsiteY2" fmla="*/ 4559110 h 4700194"/>
                <a:gd name="connsiteX3" fmla="*/ 4148627 w 7539838"/>
                <a:gd name="connsiteY3" fmla="*/ 3777392 h 4700194"/>
                <a:gd name="connsiteX4" fmla="*/ 4674419 w 7539838"/>
                <a:gd name="connsiteY4" fmla="*/ 3505682 h 4700194"/>
                <a:gd name="connsiteX5" fmla="*/ 5895500 w 7539838"/>
                <a:gd name="connsiteY5" fmla="*/ 2498533 h 4700194"/>
                <a:gd name="connsiteX6" fmla="*/ 6865591 w 7539838"/>
                <a:gd name="connsiteY6" fmla="*/ 1420894 h 4700194"/>
                <a:gd name="connsiteX7" fmla="*/ 7539838 w 7539838"/>
                <a:gd name="connsiteY7" fmla="*/ 0 h 4700194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85184 w 7539838"/>
                <a:gd name="connsiteY2" fmla="*/ 4559110 h 4700194"/>
                <a:gd name="connsiteX3" fmla="*/ 4148627 w 7539838"/>
                <a:gd name="connsiteY3" fmla="*/ 3777392 h 4700194"/>
                <a:gd name="connsiteX4" fmla="*/ 4674419 w 7539838"/>
                <a:gd name="connsiteY4" fmla="*/ 3505682 h 4700194"/>
                <a:gd name="connsiteX5" fmla="*/ 5874465 w 7539838"/>
                <a:gd name="connsiteY5" fmla="*/ 2438020 h 4700194"/>
                <a:gd name="connsiteX6" fmla="*/ 6865591 w 7539838"/>
                <a:gd name="connsiteY6" fmla="*/ 1420894 h 4700194"/>
                <a:gd name="connsiteX7" fmla="*/ 7539838 w 7539838"/>
                <a:gd name="connsiteY7" fmla="*/ 0 h 4700194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85184 w 7539838"/>
                <a:gd name="connsiteY2" fmla="*/ 4559110 h 4700194"/>
                <a:gd name="connsiteX3" fmla="*/ 4148627 w 7539838"/>
                <a:gd name="connsiteY3" fmla="*/ 3777392 h 4700194"/>
                <a:gd name="connsiteX4" fmla="*/ 4642868 w 7539838"/>
                <a:gd name="connsiteY4" fmla="*/ 3420962 h 4700194"/>
                <a:gd name="connsiteX5" fmla="*/ 5874465 w 7539838"/>
                <a:gd name="connsiteY5" fmla="*/ 2438020 h 4700194"/>
                <a:gd name="connsiteX6" fmla="*/ 6865591 w 7539838"/>
                <a:gd name="connsiteY6" fmla="*/ 1420894 h 4700194"/>
                <a:gd name="connsiteX7" fmla="*/ 7539838 w 7539838"/>
                <a:gd name="connsiteY7" fmla="*/ 0 h 4700194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85184 w 7539838"/>
                <a:gd name="connsiteY2" fmla="*/ 4559110 h 4700194"/>
                <a:gd name="connsiteX3" fmla="*/ 4138109 w 7539838"/>
                <a:gd name="connsiteY3" fmla="*/ 3741084 h 4700194"/>
                <a:gd name="connsiteX4" fmla="*/ 4642868 w 7539838"/>
                <a:gd name="connsiteY4" fmla="*/ 3420962 h 4700194"/>
                <a:gd name="connsiteX5" fmla="*/ 5874465 w 7539838"/>
                <a:gd name="connsiteY5" fmla="*/ 2438020 h 4700194"/>
                <a:gd name="connsiteX6" fmla="*/ 6865591 w 7539838"/>
                <a:gd name="connsiteY6" fmla="*/ 1420894 h 4700194"/>
                <a:gd name="connsiteX7" fmla="*/ 7539838 w 7539838"/>
                <a:gd name="connsiteY7" fmla="*/ 0 h 4700194"/>
                <a:gd name="connsiteX0" fmla="*/ 586095 w 7539838"/>
                <a:gd name="connsiteY0" fmla="*/ 4678489 h 4700194"/>
                <a:gd name="connsiteX1" fmla="*/ 0 w 7539838"/>
                <a:gd name="connsiteY1" fmla="*/ 4700194 h 4700194"/>
                <a:gd name="connsiteX2" fmla="*/ 2095701 w 7539838"/>
                <a:gd name="connsiteY2" fmla="*/ 4510699 h 4700194"/>
                <a:gd name="connsiteX3" fmla="*/ 4138109 w 7539838"/>
                <a:gd name="connsiteY3" fmla="*/ 3741084 h 4700194"/>
                <a:gd name="connsiteX4" fmla="*/ 4642868 w 7539838"/>
                <a:gd name="connsiteY4" fmla="*/ 3420962 h 4700194"/>
                <a:gd name="connsiteX5" fmla="*/ 5874465 w 7539838"/>
                <a:gd name="connsiteY5" fmla="*/ 2438020 h 4700194"/>
                <a:gd name="connsiteX6" fmla="*/ 6865591 w 7539838"/>
                <a:gd name="connsiteY6" fmla="*/ 1420894 h 4700194"/>
                <a:gd name="connsiteX7" fmla="*/ 7539838 w 7539838"/>
                <a:gd name="connsiteY7" fmla="*/ 0 h 4700194"/>
                <a:gd name="connsiteX0" fmla="*/ 586095 w 7361047"/>
                <a:gd name="connsiteY0" fmla="*/ 4678489 h 4700194"/>
                <a:gd name="connsiteX1" fmla="*/ 0 w 7361047"/>
                <a:gd name="connsiteY1" fmla="*/ 4700194 h 4700194"/>
                <a:gd name="connsiteX2" fmla="*/ 2095701 w 7361047"/>
                <a:gd name="connsiteY2" fmla="*/ 4510699 h 4700194"/>
                <a:gd name="connsiteX3" fmla="*/ 4138109 w 7361047"/>
                <a:gd name="connsiteY3" fmla="*/ 3741084 h 4700194"/>
                <a:gd name="connsiteX4" fmla="*/ 4642868 w 7361047"/>
                <a:gd name="connsiteY4" fmla="*/ 3420962 h 4700194"/>
                <a:gd name="connsiteX5" fmla="*/ 5874465 w 7361047"/>
                <a:gd name="connsiteY5" fmla="*/ 2438020 h 4700194"/>
                <a:gd name="connsiteX6" fmla="*/ 6865591 w 7361047"/>
                <a:gd name="connsiteY6" fmla="*/ 1420894 h 4700194"/>
                <a:gd name="connsiteX7" fmla="*/ 7361047 w 7361047"/>
                <a:gd name="connsiteY7" fmla="*/ 0 h 4700194"/>
                <a:gd name="connsiteX0" fmla="*/ 586095 w 7361047"/>
                <a:gd name="connsiteY0" fmla="*/ 4678489 h 4700194"/>
                <a:gd name="connsiteX1" fmla="*/ 0 w 7361047"/>
                <a:gd name="connsiteY1" fmla="*/ 4700194 h 4700194"/>
                <a:gd name="connsiteX2" fmla="*/ 2095701 w 7361047"/>
                <a:gd name="connsiteY2" fmla="*/ 4510699 h 4700194"/>
                <a:gd name="connsiteX3" fmla="*/ 4138109 w 7361047"/>
                <a:gd name="connsiteY3" fmla="*/ 3741084 h 4700194"/>
                <a:gd name="connsiteX4" fmla="*/ 4642868 w 7361047"/>
                <a:gd name="connsiteY4" fmla="*/ 3420962 h 4700194"/>
                <a:gd name="connsiteX5" fmla="*/ 5874465 w 7361047"/>
                <a:gd name="connsiteY5" fmla="*/ 2438020 h 4700194"/>
                <a:gd name="connsiteX6" fmla="*/ 6865591 w 7361047"/>
                <a:gd name="connsiteY6" fmla="*/ 1420894 h 4700194"/>
                <a:gd name="connsiteX7" fmla="*/ 7361047 w 7361047"/>
                <a:gd name="connsiteY7" fmla="*/ 0 h 4700194"/>
                <a:gd name="connsiteX0" fmla="*/ 586095 w 7361047"/>
                <a:gd name="connsiteY0" fmla="*/ 4678489 h 4700194"/>
                <a:gd name="connsiteX1" fmla="*/ 0 w 7361047"/>
                <a:gd name="connsiteY1" fmla="*/ 4700194 h 4700194"/>
                <a:gd name="connsiteX2" fmla="*/ 2095701 w 7361047"/>
                <a:gd name="connsiteY2" fmla="*/ 4510699 h 4700194"/>
                <a:gd name="connsiteX3" fmla="*/ 4138109 w 7361047"/>
                <a:gd name="connsiteY3" fmla="*/ 3741084 h 4700194"/>
                <a:gd name="connsiteX4" fmla="*/ 4642868 w 7361047"/>
                <a:gd name="connsiteY4" fmla="*/ 3420962 h 4700194"/>
                <a:gd name="connsiteX5" fmla="*/ 5874465 w 7361047"/>
                <a:gd name="connsiteY5" fmla="*/ 2438020 h 4700194"/>
                <a:gd name="connsiteX6" fmla="*/ 6718353 w 7361047"/>
                <a:gd name="connsiteY6" fmla="*/ 1432997 h 4700194"/>
                <a:gd name="connsiteX7" fmla="*/ 7361047 w 7361047"/>
                <a:gd name="connsiteY7" fmla="*/ 0 h 4700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61047" h="4700194">
                  <a:moveTo>
                    <a:pt x="586095" y="4678489"/>
                  </a:moveTo>
                  <a:lnTo>
                    <a:pt x="0" y="4700194"/>
                  </a:lnTo>
                  <a:cubicBezTo>
                    <a:pt x="400050" y="4684319"/>
                    <a:pt x="1406016" y="4670551"/>
                    <a:pt x="2095701" y="4510699"/>
                  </a:cubicBezTo>
                  <a:cubicBezTo>
                    <a:pt x="2785386" y="4350847"/>
                    <a:pt x="3711828" y="3918672"/>
                    <a:pt x="4138109" y="3741084"/>
                  </a:cubicBezTo>
                  <a:cubicBezTo>
                    <a:pt x="4574906" y="3502981"/>
                    <a:pt x="4353475" y="3638139"/>
                    <a:pt x="4642868" y="3420962"/>
                  </a:cubicBezTo>
                  <a:cubicBezTo>
                    <a:pt x="4932261" y="3203785"/>
                    <a:pt x="5528551" y="2769348"/>
                    <a:pt x="5874465" y="2438020"/>
                  </a:cubicBezTo>
                  <a:cubicBezTo>
                    <a:pt x="6220379" y="2106693"/>
                    <a:pt x="6412760" y="1827181"/>
                    <a:pt x="6718353" y="1432997"/>
                  </a:cubicBezTo>
                  <a:cubicBezTo>
                    <a:pt x="7051202" y="905948"/>
                    <a:pt x="7130662" y="700684"/>
                    <a:pt x="7361047" y="0"/>
                  </a:cubicBezTo>
                </a:path>
              </a:pathLst>
            </a:custGeom>
            <a:noFill/>
            <a:ln w="79375" cap="sq" cmpd="sng">
              <a:solidFill>
                <a:srgbClr val="41719C"/>
              </a:solidFill>
              <a:round/>
              <a:headEnd type="oval"/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9657422" y="810429"/>
              <a:ext cx="2242144" cy="1107996"/>
            </a:xfrm>
            <a:prstGeom prst="rect">
              <a:avLst/>
            </a:prstGeom>
            <a:solidFill>
              <a:srgbClr val="009ADD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Multi </a:t>
              </a:r>
              <a:r>
                <a:rPr lang="en-US" dirty="0" err="1">
                  <a:solidFill>
                    <a:schemeClr val="bg1"/>
                  </a:solidFill>
                </a:rPr>
                <a:t>Gbps</a:t>
              </a:r>
              <a:endParaRPr lang="en-US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w/ 8X8 MU-MIMO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1024 QAM / 160 MHz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5 GHz and 6 GH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050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16" grpId="0" animBg="1"/>
      <p:bldP spid="40" grpId="0" animBg="1"/>
      <p:bldP spid="4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ambium">
      <a:dk1>
        <a:sysClr val="windowText" lastClr="000000"/>
      </a:dk1>
      <a:lt1>
        <a:sysClr val="window" lastClr="FFFFFF"/>
      </a:lt1>
      <a:dk2>
        <a:srgbClr val="003C79"/>
      </a:dk2>
      <a:lt2>
        <a:srgbClr val="AEAAAA"/>
      </a:lt2>
      <a:accent1>
        <a:srgbClr val="203864"/>
      </a:accent1>
      <a:accent2>
        <a:srgbClr val="C5E0B4"/>
      </a:accent2>
      <a:accent3>
        <a:srgbClr val="FFE699"/>
      </a:accent3>
      <a:accent4>
        <a:srgbClr val="F8CBAD"/>
      </a:accent4>
      <a:accent5>
        <a:srgbClr val="ADB9CA"/>
      </a:accent5>
      <a:accent6>
        <a:srgbClr val="D0CECE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bium Template 2020_v3.potx" id="{C900C182-DBA8-40BC-8BA1-07A4CBF137B8}" vid="{C002C82A-C762-4C33-9941-33CE28C3834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8E86B09351924B93AD26184C119865" ma:contentTypeVersion="16" ma:contentTypeDescription="Create a new document." ma:contentTypeScope="" ma:versionID="f152be80364df514df2d2246516c41a6">
  <xsd:schema xmlns:xsd="http://www.w3.org/2001/XMLSchema" xmlns:xs="http://www.w3.org/2001/XMLSchema" xmlns:p="http://schemas.microsoft.com/office/2006/metadata/properties" xmlns:ns1="http://schemas.microsoft.com/sharepoint/v3" xmlns:ns3="98515cff-74c5-45ac-9d9f-e5bd43d55d69" xmlns:ns4="c276ac8b-c6a3-4b65-a5d8-32f81cd20fcb" targetNamespace="http://schemas.microsoft.com/office/2006/metadata/properties" ma:root="true" ma:fieldsID="ed63439aed2f86d126398d0e807800e5" ns1:_="" ns3:_="" ns4:_="">
    <xsd:import namespace="http://schemas.microsoft.com/sharepoint/v3"/>
    <xsd:import namespace="98515cff-74c5-45ac-9d9f-e5bd43d55d69"/>
    <xsd:import namespace="c276ac8b-c6a3-4b65-a5d8-32f81cd20fc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15cff-74c5-45ac-9d9f-e5bd43d55d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76ac8b-c6a3-4b65-a5d8-32f81cd20fc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7946750-97EF-42B5-82E2-D2E0C786E6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8515cff-74c5-45ac-9d9f-e5bd43d55d69"/>
    <ds:schemaRef ds:uri="c276ac8b-c6a3-4b65-a5d8-32f81cd20f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9E530D-7A70-40AD-9DBC-6DFD25275E42}">
  <ds:schemaRefs>
    <ds:schemaRef ds:uri="http://purl.org/dc/terms/"/>
    <ds:schemaRef ds:uri="http://schemas.microsoft.com/office/2006/documentManagement/types"/>
    <ds:schemaRef ds:uri="http://schemas.microsoft.com/sharepoint/v3"/>
    <ds:schemaRef ds:uri="c276ac8b-c6a3-4b65-a5d8-32f81cd20fcb"/>
    <ds:schemaRef ds:uri="http://purl.org/dc/elements/1.1/"/>
    <ds:schemaRef ds:uri="http://schemas.microsoft.com/office/2006/metadata/properties"/>
    <ds:schemaRef ds:uri="98515cff-74c5-45ac-9d9f-e5bd43d55d69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C5F6A0-69BE-4285-87ED-FAEC719C92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mbium Template 2020_v3</Template>
  <TotalTime>1802</TotalTime>
  <Words>1659</Words>
  <Application>Microsoft Office PowerPoint</Application>
  <PresentationFormat>Widescreen</PresentationFormat>
  <Paragraphs>339</Paragraphs>
  <Slides>27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entury Gothic</vt:lpstr>
      <vt:lpstr>Wingdings</vt:lpstr>
      <vt:lpstr>Office Theme</vt:lpstr>
      <vt:lpstr>think-cell Slide</vt:lpstr>
      <vt:lpstr>ePMP 6GHz/5GHz AX update</vt:lpstr>
      <vt:lpstr>Why ePMP?</vt:lpstr>
      <vt:lpstr>Why ePMP?</vt:lpstr>
      <vt:lpstr>ePMP Portfolio – Access Points</vt:lpstr>
      <vt:lpstr>Access Point topologies to fit the Application</vt:lpstr>
      <vt:lpstr>ePMP Force 300 (802.11ac Wave 2) Subscriber Module Portfolio</vt:lpstr>
      <vt:lpstr>Force 300 Subscriber Module Portfolio Summary</vt:lpstr>
      <vt:lpstr>Introducing the ePMP Force 425 and Force 400C</vt:lpstr>
      <vt:lpstr>ePMP Evolution </vt:lpstr>
      <vt:lpstr>6GHz Band</vt:lpstr>
      <vt:lpstr>Possible timeline</vt:lpstr>
      <vt:lpstr>ePMP WiFi 6 Access points - ePMP 4000</vt:lpstr>
      <vt:lpstr>ePMP Force 400 Subscriber Modules</vt:lpstr>
      <vt:lpstr>6 GHz ePMP 4000 Specifications</vt:lpstr>
      <vt:lpstr>20 MHz channels, device configs: AP</vt:lpstr>
      <vt:lpstr>20 MHz channels, device configs: SM</vt:lpstr>
      <vt:lpstr>20 MHz channels, device stats: AP</vt:lpstr>
      <vt:lpstr>20 MHz channels, device stats: SM</vt:lpstr>
      <vt:lpstr>20 MHz channels, device performance: TPUT chart</vt:lpstr>
      <vt:lpstr>20 MHz channels, device performance: mikrotik generator</vt:lpstr>
      <vt:lpstr>40 MHz channels, device performance: TPUT chart</vt:lpstr>
      <vt:lpstr>40 MHz channels, device performance: mikrotik generator</vt:lpstr>
      <vt:lpstr>80 MHz channels, device performance: TPUT chart</vt:lpstr>
      <vt:lpstr>80 MHz channels, device performance: mikrotik generator</vt:lpstr>
      <vt:lpstr>160 MHz channels, device performance: TPUT chart</vt:lpstr>
      <vt:lpstr>160 MHz channels, device performance: mikrotik generator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dc:creator>Mary Peterson</dc:creator>
  <cp:lastModifiedBy>Sakid Ahmed</cp:lastModifiedBy>
  <cp:revision>40</cp:revision>
  <dcterms:created xsi:type="dcterms:W3CDTF">2020-03-27T00:38:25Z</dcterms:created>
  <dcterms:modified xsi:type="dcterms:W3CDTF">2021-09-27T18:5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8E86B09351924B93AD26184C119865</vt:lpwstr>
  </property>
</Properties>
</file>